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6" r:id="rId1"/>
    <p:sldMasterId id="2147483768" r:id="rId2"/>
    <p:sldMasterId id="2147483780" r:id="rId3"/>
  </p:sldMasterIdLst>
  <p:notesMasterIdLst>
    <p:notesMasterId r:id="rId23"/>
  </p:notesMasterIdLst>
  <p:sldIdLst>
    <p:sldId id="256" r:id="rId4"/>
    <p:sldId id="272" r:id="rId5"/>
    <p:sldId id="273" r:id="rId6"/>
    <p:sldId id="274" r:id="rId7"/>
    <p:sldId id="271" r:id="rId8"/>
    <p:sldId id="283" r:id="rId9"/>
    <p:sldId id="284" r:id="rId10"/>
    <p:sldId id="288" r:id="rId11"/>
    <p:sldId id="289" r:id="rId12"/>
    <p:sldId id="286" r:id="rId13"/>
    <p:sldId id="287" r:id="rId14"/>
    <p:sldId id="285" r:id="rId15"/>
    <p:sldId id="277" r:id="rId16"/>
    <p:sldId id="278" r:id="rId17"/>
    <p:sldId id="290" r:id="rId18"/>
    <p:sldId id="282" r:id="rId19"/>
    <p:sldId id="281" r:id="rId20"/>
    <p:sldId id="280" r:id="rId21"/>
    <p:sldId id="258" r:id="rId22"/>
  </p:sldIdLst>
  <p:sldSz cx="9144000" cy="6858000" type="screen4x3"/>
  <p:notesSz cx="6799263" cy="99298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CCFFFF"/>
    <a:srgbClr val="F9FE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624" autoAdjust="0"/>
  </p:normalViewPr>
  <p:slideViewPr>
    <p:cSldViewPr>
      <p:cViewPr varScale="1">
        <p:scale>
          <a:sx n="67" d="100"/>
          <a:sy n="67" d="100"/>
        </p:scale>
        <p:origin x="1392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2.bin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b21691\Documents\Requests\DeLicense\Appraiser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b21691\Documents\Requests\DeLicense\Appraiser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2743572429678724E-2"/>
          <c:y val="1.5797665369649806E-2"/>
          <c:w val="0.91906614635400752"/>
          <c:h val="0.6705035897750136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Убыт_КО!$C$2</c:f>
              <c:strCache>
                <c:ptCount val="1"/>
                <c:pt idx="0">
                  <c:v>Число убыточных КО</c:v>
                </c:pt>
              </c:strCache>
            </c:strRef>
          </c:tx>
          <c:spPr>
            <a:solidFill>
              <a:srgbClr val="F79646">
                <a:lumMod val="75000"/>
              </a:srgbClr>
            </a:solidFill>
            <a:ln w="3175">
              <a:gradFill>
                <a:gsLst>
                  <a:gs pos="0">
                    <a:srgbClr val="FF0000"/>
                  </a:gs>
                  <a:gs pos="100000">
                    <a:srgbClr val="FF0000">
                      <a:alpha val="0"/>
                    </a:srgbClr>
                  </a:gs>
                </a:gsLst>
                <a:lin ang="5400000" scaled="0"/>
              </a:gradFill>
            </a:ln>
          </c:spPr>
          <c:invertIfNegative val="0"/>
          <c:dLbls>
            <c:dLbl>
              <c:idx val="0"/>
              <c:layout>
                <c:manualLayout>
                  <c:x val="-1.5141671647479911E-4"/>
                  <c:y val="-1.626791420946870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5141671647479911E-4"/>
                  <c:y val="-1.745242095784052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4.5522032518212473E-3"/>
                  <c:y val="-1.816887951767552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3.009621380831669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-4.755373935947781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3.600475777685405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-2.682495420055507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"/>
                  <c:y val="-2.830554644403579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1.0014858737411361E-16"/>
                  <c:y val="-3.807768566776541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0"/>
                  <c:y val="-4.933041713497607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"/>
                  <c:y val="-6.681575728030543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rgbClr val="FF0000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Убыт_КО!$A$3:$A$13</c:f>
              <c:numCache>
                <c:formatCode>dd/mm/yyyy</c:formatCode>
                <c:ptCount val="11"/>
                <c:pt idx="0">
                  <c:v>38718</c:v>
                </c:pt>
                <c:pt idx="1">
                  <c:v>39083</c:v>
                </c:pt>
                <c:pt idx="2">
                  <c:v>39448</c:v>
                </c:pt>
                <c:pt idx="3">
                  <c:v>39814</c:v>
                </c:pt>
                <c:pt idx="4">
                  <c:v>40179</c:v>
                </c:pt>
                <c:pt idx="5">
                  <c:v>40544</c:v>
                </c:pt>
                <c:pt idx="6">
                  <c:v>40909</c:v>
                </c:pt>
                <c:pt idx="7">
                  <c:v>41275</c:v>
                </c:pt>
                <c:pt idx="8">
                  <c:v>41640</c:v>
                </c:pt>
                <c:pt idx="9">
                  <c:v>42005</c:v>
                </c:pt>
                <c:pt idx="10">
                  <c:v>42370</c:v>
                </c:pt>
              </c:numCache>
            </c:numRef>
          </c:cat>
          <c:val>
            <c:numRef>
              <c:f>Убыт_КО!$C$3:$C$13</c:f>
              <c:numCache>
                <c:formatCode>#,##0</c:formatCode>
                <c:ptCount val="11"/>
                <c:pt idx="0">
                  <c:v>14</c:v>
                </c:pt>
                <c:pt idx="1">
                  <c:v>18</c:v>
                </c:pt>
                <c:pt idx="2">
                  <c:v>11</c:v>
                </c:pt>
                <c:pt idx="3">
                  <c:v>56</c:v>
                </c:pt>
                <c:pt idx="4">
                  <c:v>120</c:v>
                </c:pt>
                <c:pt idx="5">
                  <c:v>81</c:v>
                </c:pt>
                <c:pt idx="6">
                  <c:v>50</c:v>
                </c:pt>
                <c:pt idx="7">
                  <c:v>55</c:v>
                </c:pt>
                <c:pt idx="8">
                  <c:v>88</c:v>
                </c:pt>
                <c:pt idx="9">
                  <c:v>126</c:v>
                </c:pt>
                <c:pt idx="10">
                  <c:v>180</c:v>
                </c:pt>
              </c:numCache>
            </c:numRef>
          </c:val>
        </c:ser>
        <c:ser>
          <c:idx val="0"/>
          <c:order val="1"/>
          <c:tx>
            <c:strRef>
              <c:f>Убыт_КО!$B$2</c:f>
              <c:strCache>
                <c:ptCount val="1"/>
                <c:pt idx="0">
                  <c:v>Число действующих КО</c:v>
                </c:pt>
              </c:strCache>
            </c:strRef>
          </c:tx>
          <c:spPr>
            <a:gradFill>
              <a:gsLst>
                <a:gs pos="0">
                  <a:schemeClr val="tx2">
                    <a:lumMod val="90000"/>
                    <a:lumOff val="10000"/>
                    <a:alpha val="95000"/>
                  </a:schemeClr>
                </a:gs>
                <a:gs pos="100000">
                  <a:schemeClr val="tx2">
                    <a:lumMod val="25000"/>
                    <a:lumOff val="75000"/>
                    <a:alpha val="90000"/>
                  </a:schemeClr>
                </a:gs>
              </a:gsLst>
              <a:lin ang="5400000" scaled="1"/>
            </a:gradFill>
            <a:ln w="3175">
              <a:gradFill>
                <a:gsLst>
                  <a:gs pos="0">
                    <a:srgbClr val="005A9E">
                      <a:alpha val="80000"/>
                    </a:srgbClr>
                  </a:gs>
                  <a:gs pos="100000">
                    <a:srgbClr val="005A9E">
                      <a:alpha val="0"/>
                    </a:srgbClr>
                  </a:gs>
                </a:gsLst>
                <a:lin ang="5400000" scaled="0"/>
              </a:gra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Убыт_КО!$A$3:$A$13</c:f>
              <c:numCache>
                <c:formatCode>dd/mm/yyyy</c:formatCode>
                <c:ptCount val="11"/>
                <c:pt idx="0">
                  <c:v>38718</c:v>
                </c:pt>
                <c:pt idx="1">
                  <c:v>39083</c:v>
                </c:pt>
                <c:pt idx="2">
                  <c:v>39448</c:v>
                </c:pt>
                <c:pt idx="3">
                  <c:v>39814</c:v>
                </c:pt>
                <c:pt idx="4">
                  <c:v>40179</c:v>
                </c:pt>
                <c:pt idx="5">
                  <c:v>40544</c:v>
                </c:pt>
                <c:pt idx="6">
                  <c:v>40909</c:v>
                </c:pt>
                <c:pt idx="7">
                  <c:v>41275</c:v>
                </c:pt>
                <c:pt idx="8">
                  <c:v>41640</c:v>
                </c:pt>
                <c:pt idx="9">
                  <c:v>42005</c:v>
                </c:pt>
                <c:pt idx="10">
                  <c:v>42370</c:v>
                </c:pt>
              </c:numCache>
            </c:numRef>
          </c:cat>
          <c:val>
            <c:numRef>
              <c:f>Убыт_КО!$B$3:$B$13</c:f>
              <c:numCache>
                <c:formatCode>#,##0</c:formatCode>
                <c:ptCount val="11"/>
                <c:pt idx="0">
                  <c:v>1253</c:v>
                </c:pt>
                <c:pt idx="1">
                  <c:v>1188</c:v>
                </c:pt>
                <c:pt idx="2">
                  <c:v>1134</c:v>
                </c:pt>
                <c:pt idx="3">
                  <c:v>1106</c:v>
                </c:pt>
                <c:pt idx="4">
                  <c:v>1058</c:v>
                </c:pt>
                <c:pt idx="5">
                  <c:v>1012</c:v>
                </c:pt>
                <c:pt idx="6">
                  <c:v>978</c:v>
                </c:pt>
                <c:pt idx="7">
                  <c:v>956</c:v>
                </c:pt>
                <c:pt idx="8">
                  <c:v>923</c:v>
                </c:pt>
                <c:pt idx="9">
                  <c:v>834</c:v>
                </c:pt>
                <c:pt idx="10">
                  <c:v>7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25186448"/>
        <c:axId val="425180176"/>
      </c:barChart>
      <c:lineChart>
        <c:grouping val="standard"/>
        <c:varyColors val="0"/>
        <c:ser>
          <c:idx val="2"/>
          <c:order val="2"/>
          <c:tx>
            <c:strRef>
              <c:f>Убыт_КО!$D$2</c:f>
              <c:strCache>
                <c:ptCount val="1"/>
                <c:pt idx="0">
                  <c:v>Доля убыточных КО (правая шкала)</c:v>
                </c:pt>
              </c:strCache>
            </c:strRef>
          </c:tx>
          <c:spPr>
            <a:ln w="34925">
              <a:gradFill>
                <a:gsLst>
                  <a:gs pos="0">
                    <a:srgbClr val="FF0000"/>
                  </a:gs>
                  <a:gs pos="70000">
                    <a:srgbClr val="FF0000">
                      <a:lumMod val="90000"/>
                      <a:lumOff val="10000"/>
                    </a:srgbClr>
                  </a:gs>
                  <a:gs pos="100000">
                    <a:srgbClr val="FF0000">
                      <a:lumMod val="45000"/>
                      <a:lumOff val="55000"/>
                    </a:srgbClr>
                  </a:gs>
                </a:gsLst>
                <a:lin ang="5400000" scaled="0"/>
              </a:gradFill>
            </a:ln>
          </c:spPr>
          <c:marker>
            <c:symbol val="none"/>
          </c:marker>
          <c:dLbls>
            <c:dLbl>
              <c:idx val="10"/>
              <c:layout>
                <c:manualLayout>
                  <c:x val="-9.7566418059128662E-2"/>
                  <c:y val="-1.88220823861452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Убыт_КО!$D$3:$D$13</c:f>
              <c:numCache>
                <c:formatCode>0.00%</c:formatCode>
                <c:ptCount val="11"/>
                <c:pt idx="0">
                  <c:v>1.11731843575419E-2</c:v>
                </c:pt>
                <c:pt idx="1">
                  <c:v>1.5151515151515181E-2</c:v>
                </c:pt>
                <c:pt idx="2">
                  <c:v>9.7001763668430347E-3</c:v>
                </c:pt>
                <c:pt idx="3">
                  <c:v>5.0632911392405132E-2</c:v>
                </c:pt>
                <c:pt idx="4">
                  <c:v>0.11342155009451796</c:v>
                </c:pt>
                <c:pt idx="5">
                  <c:v>8.0039525691700003E-2</c:v>
                </c:pt>
                <c:pt idx="6">
                  <c:v>5.1124744376278057E-2</c:v>
                </c:pt>
                <c:pt idx="7">
                  <c:v>5.7531380753138114E-2</c:v>
                </c:pt>
                <c:pt idx="8">
                  <c:v>9.5341278439870017E-2</c:v>
                </c:pt>
                <c:pt idx="9">
                  <c:v>0.15107913669064749</c:v>
                </c:pt>
                <c:pt idx="10">
                  <c:v>0.245566166439293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5177432"/>
        <c:axId val="425184488"/>
      </c:lineChart>
      <c:dateAx>
        <c:axId val="425186448"/>
        <c:scaling>
          <c:orientation val="minMax"/>
        </c:scaling>
        <c:delete val="0"/>
        <c:axPos val="b"/>
        <c:numFmt formatCode="d/m/yy;@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ru-RU"/>
          </a:p>
        </c:txPr>
        <c:crossAx val="425180176"/>
        <c:crosses val="autoZero"/>
        <c:auto val="1"/>
        <c:lblOffset val="100"/>
        <c:baseTimeUnit val="years"/>
      </c:dateAx>
      <c:valAx>
        <c:axId val="425180176"/>
        <c:scaling>
          <c:orientation val="minMax"/>
          <c:max val="1300"/>
          <c:min val="0"/>
        </c:scaling>
        <c:delete val="0"/>
        <c:axPos val="l"/>
        <c:majorGridlines>
          <c:spPr>
            <a:ln w="3175"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#,##0" sourceLinked="1"/>
        <c:majorTickMark val="out"/>
        <c:minorTickMark val="none"/>
        <c:tickLblPos val="nextTo"/>
        <c:crossAx val="425186448"/>
        <c:crosses val="autoZero"/>
        <c:crossBetween val="between"/>
        <c:majorUnit val="200"/>
        <c:minorUnit val="50"/>
      </c:valAx>
      <c:valAx>
        <c:axId val="425184488"/>
        <c:scaling>
          <c:orientation val="minMax"/>
          <c:max val="0.26"/>
        </c:scaling>
        <c:delete val="0"/>
        <c:axPos val="r"/>
        <c:numFmt formatCode="0%" sourceLinked="0"/>
        <c:majorTickMark val="out"/>
        <c:minorTickMark val="none"/>
        <c:tickLblPos val="nextTo"/>
        <c:crossAx val="425177432"/>
        <c:crosses val="max"/>
        <c:crossBetween val="between"/>
        <c:majorUnit val="2.0000000000000011E-2"/>
      </c:valAx>
      <c:catAx>
        <c:axId val="425177432"/>
        <c:scaling>
          <c:orientation val="minMax"/>
        </c:scaling>
        <c:delete val="1"/>
        <c:axPos val="b"/>
        <c:majorTickMark val="out"/>
        <c:minorTickMark val="none"/>
        <c:tickLblPos val="none"/>
        <c:crossAx val="425184488"/>
        <c:crosses val="autoZero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2.2621726739603096E-2"/>
          <c:y val="0.79438544890059937"/>
          <c:w val="0.94550349523141286"/>
          <c:h val="0.20561455109940052"/>
        </c:manualLayout>
      </c:layout>
      <c:overlay val="0"/>
      <c:txPr>
        <a:bodyPr/>
        <a:lstStyle/>
        <a:p>
          <a:pPr>
            <a:defRPr sz="1400" b="1"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625842261520589"/>
          <c:y val="2.4932249322493251E-2"/>
          <c:w val="0.9217763109221575"/>
          <c:h val="0.54170226292485069"/>
        </c:manualLayout>
      </c:layout>
      <c:barChart>
        <c:barDir val="col"/>
        <c:grouping val="clustered"/>
        <c:varyColors val="1"/>
        <c:ser>
          <c:idx val="1"/>
          <c:order val="0"/>
          <c:tx>
            <c:strRef>
              <c:f>ФинРез!$C$3</c:f>
              <c:strCache>
                <c:ptCount val="1"/>
                <c:pt idx="0">
                  <c:v>Финансовый результат банков, млрд руб.
(левая шкала)</c:v>
                </c:pt>
              </c:strCache>
            </c:strRef>
          </c:tx>
          <c:spPr>
            <a:gradFill>
              <a:gsLst>
                <a:gs pos="40000">
                  <a:schemeClr val="tx2">
                    <a:alpha val="85000"/>
                    <a:lumMod val="45000"/>
                    <a:lumOff val="55000"/>
                  </a:schemeClr>
                </a:gs>
                <a:gs pos="0">
                  <a:schemeClr val="tx2">
                    <a:lumMod val="75000"/>
                    <a:lumOff val="25000"/>
                    <a:alpha val="85000"/>
                  </a:schemeClr>
                </a:gs>
                <a:gs pos="100000">
                  <a:schemeClr val="tx2">
                    <a:lumMod val="25000"/>
                    <a:lumOff val="75000"/>
                    <a:alpha val="90000"/>
                  </a:schemeClr>
                </a:gs>
              </a:gsLst>
              <a:lin ang="5400000" scaled="1"/>
            </a:gradFill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7.2189135535101964E-3"/>
                </c:manualLayout>
              </c:layout>
              <c:tx>
                <c:rich>
                  <a:bodyPr/>
                  <a:lstStyle/>
                  <a:p>
                    <a:pPr>
                      <a:defRPr sz="1800" b="1">
                        <a:solidFill>
                          <a:schemeClr val="tx1"/>
                        </a:solidFill>
                      </a:defRPr>
                    </a:pPr>
                    <a:r>
                      <a:rPr lang="en-US" sz="1800" b="1">
                        <a:solidFill>
                          <a:schemeClr val="tx1"/>
                        </a:solidFill>
                      </a:rPr>
                      <a:t>+41,8%</a:t>
                    </a:r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numFmt formatCode="#,##0.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7.2189135535101964E-3"/>
                </c:manualLayout>
              </c:layout>
              <c:tx>
                <c:rich>
                  <a:bodyPr/>
                  <a:lstStyle/>
                  <a:p>
                    <a:pPr>
                      <a:defRPr sz="1800" b="1">
                        <a:solidFill>
                          <a:schemeClr val="tx1"/>
                        </a:solidFill>
                      </a:defRPr>
                    </a:pPr>
                    <a:r>
                      <a:rPr lang="en-US" sz="1800" b="1">
                        <a:solidFill>
                          <a:schemeClr val="tx1"/>
                        </a:solidFill>
                      </a:rPr>
                      <a:t>+36,7%</a:t>
                    </a:r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numFmt formatCode="#,##0.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5.8498347421685412E-4"/>
                  <c:y val="7.0153673164035524E-3"/>
                </c:manualLayout>
              </c:layout>
              <c:tx>
                <c:rich>
                  <a:bodyPr/>
                  <a:lstStyle/>
                  <a:p>
                    <a:pPr>
                      <a:defRPr sz="1800" b="1">
                        <a:solidFill>
                          <a:srgbClr val="FF0000"/>
                        </a:solidFill>
                      </a:defRPr>
                    </a:pPr>
                    <a:r>
                      <a:rPr lang="en-US" sz="1800" b="1">
                        <a:solidFill>
                          <a:srgbClr val="FF0000"/>
                        </a:solidFill>
                      </a:rPr>
                      <a:t>-19,4%</a:t>
                    </a:r>
                    <a:endParaRPr lang="en-US" b="1">
                      <a:solidFill>
                        <a:srgbClr val="FF0000"/>
                      </a:solidFill>
                    </a:endParaRPr>
                  </a:p>
                </c:rich>
              </c:tx>
              <c:numFmt formatCode="#,##0.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7.8069485713499413E-4"/>
                  <c:y val="7.1240911087604941E-2"/>
                </c:manualLayout>
              </c:layout>
              <c:tx>
                <c:rich>
                  <a:bodyPr/>
                  <a:lstStyle/>
                  <a:p>
                    <a:pPr>
                      <a:defRPr sz="1800" b="1">
                        <a:solidFill>
                          <a:srgbClr val="FF0000"/>
                        </a:solidFill>
                      </a:defRPr>
                    </a:pPr>
                    <a:r>
                      <a:rPr lang="en-US" sz="1800" b="1">
                        <a:solidFill>
                          <a:srgbClr val="FF0000"/>
                        </a:solidFill>
                      </a:rPr>
                      <a:t>-49,9%</a:t>
                    </a:r>
                    <a:endParaRPr lang="en-US" b="1">
                      <a:solidFill>
                        <a:srgbClr val="FF0000"/>
                      </a:solidFill>
                    </a:endParaRPr>
                  </a:p>
                </c:rich>
              </c:tx>
              <c:numFmt formatCode="#,##0.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3.6094567767551303E-3"/>
                </c:manualLayout>
              </c:layout>
              <c:tx>
                <c:rich>
                  <a:bodyPr/>
                  <a:lstStyle/>
                  <a:p>
                    <a:pPr>
                      <a:defRPr sz="1800" b="1">
                        <a:solidFill>
                          <a:schemeClr val="tx1"/>
                        </a:solidFill>
                      </a:defRPr>
                    </a:pPr>
                    <a:r>
                      <a:rPr lang="en-US" sz="1800" b="1">
                        <a:solidFill>
                          <a:schemeClr val="tx1"/>
                        </a:solidFill>
                      </a:rPr>
                      <a:t>+179,5%</a:t>
                    </a:r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numFmt formatCode="#,##0.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7.2189135535101964E-3"/>
                </c:manualLayout>
              </c:layout>
              <c:tx>
                <c:rich>
                  <a:bodyPr/>
                  <a:lstStyle/>
                  <a:p>
                    <a:pPr>
                      <a:defRPr sz="1800" b="1">
                        <a:solidFill>
                          <a:schemeClr val="tx1"/>
                        </a:solidFill>
                      </a:defRPr>
                    </a:pPr>
                    <a:r>
                      <a:rPr lang="en-US" sz="1800" b="1">
                        <a:solidFill>
                          <a:schemeClr val="tx1"/>
                        </a:solidFill>
                      </a:rPr>
                      <a:t>+47,9%</a:t>
                    </a:r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numFmt formatCode="#,##0.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2.1463833440651852E-3"/>
                  <c:y val="7.2189135535101964E-3"/>
                </c:manualLayout>
              </c:layout>
              <c:tx>
                <c:rich>
                  <a:bodyPr/>
                  <a:lstStyle/>
                  <a:p>
                    <a:pPr>
                      <a:defRPr sz="1800" b="1">
                        <a:solidFill>
                          <a:schemeClr val="tx1"/>
                        </a:solidFill>
                      </a:defRPr>
                    </a:pPr>
                    <a:r>
                      <a:rPr lang="en-US" sz="1800" b="1">
                        <a:solidFill>
                          <a:schemeClr val="tx1"/>
                        </a:solidFill>
                      </a:rPr>
                      <a:t>+19,3%</a:t>
                    </a:r>
                    <a:endParaRPr lang="en-US">
                      <a:solidFill>
                        <a:schemeClr val="tx1"/>
                      </a:solidFill>
                    </a:endParaRPr>
                  </a:p>
                </c:rich>
              </c:tx>
              <c:numFmt formatCode="#,##0.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0"/>
                  <c:y val="7.2189135535101964E-3"/>
                </c:manualLayout>
              </c:layout>
              <c:tx>
                <c:rich>
                  <a:bodyPr/>
                  <a:lstStyle/>
                  <a:p>
                    <a:pPr>
                      <a:defRPr sz="1800" b="1">
                        <a:solidFill>
                          <a:srgbClr val="FF0000"/>
                        </a:solidFill>
                      </a:defRPr>
                    </a:pPr>
                    <a:r>
                      <a:rPr lang="en-US" sz="1800" b="1">
                        <a:solidFill>
                          <a:srgbClr val="FF0000"/>
                        </a:solidFill>
                      </a:rPr>
                      <a:t>-1,8%</a:t>
                    </a:r>
                    <a:endParaRPr lang="en-US" b="1">
                      <a:solidFill>
                        <a:srgbClr val="FF0000"/>
                      </a:solidFill>
                    </a:endParaRPr>
                  </a:p>
                </c:rich>
              </c:tx>
              <c:numFmt formatCode="#,##0.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1.0753372687809981E-7"/>
                  <c:y val="5.6996876371699784E-3"/>
                </c:manualLayout>
              </c:layout>
              <c:tx>
                <c:rich>
                  <a:bodyPr/>
                  <a:lstStyle/>
                  <a:p>
                    <a:pPr algn="ctr" rtl="0">
                      <a:defRPr sz="1800" b="1">
                        <a:solidFill>
                          <a:srgbClr val="FF0000"/>
                        </a:solidFill>
                      </a:defRPr>
                    </a:pPr>
                    <a:r>
                      <a:rPr lang="en-US" sz="1800" b="1">
                        <a:solidFill>
                          <a:srgbClr val="FF0000"/>
                        </a:solidFill>
                      </a:rPr>
                      <a:t>-40,7%</a:t>
                    </a:r>
                    <a:endParaRPr lang="en-US" b="1">
                      <a:solidFill>
                        <a:srgbClr val="FF0000"/>
                      </a:solidFill>
                    </a:endParaRPr>
                  </a:p>
                </c:rich>
              </c:tx>
              <c:numFmt formatCode="#,##0.0" sourceLinked="0"/>
              <c:spPr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1.0014858737411269E-16"/>
                  <c:y val="4.1804182952879633E-3"/>
                </c:manualLayout>
              </c:layout>
              <c:tx>
                <c:rich>
                  <a:bodyPr/>
                  <a:lstStyle/>
                  <a:p>
                    <a:pPr>
                      <a:defRPr sz="1800" b="1">
                        <a:solidFill>
                          <a:srgbClr val="FF0000"/>
                        </a:solidFill>
                      </a:defRPr>
                    </a:pPr>
                    <a:r>
                      <a:rPr lang="en-US" sz="1800" b="1">
                        <a:solidFill>
                          <a:srgbClr val="FF0000"/>
                        </a:solidFill>
                      </a:rPr>
                      <a:t>-67,4%</a:t>
                    </a:r>
                    <a:endParaRPr lang="en-US" b="1">
                      <a:solidFill>
                        <a:srgbClr val="FF0000"/>
                      </a:solidFill>
                    </a:endParaRPr>
                  </a:p>
                </c:rich>
              </c:tx>
              <c:numFmt formatCode="#,##0.0" sourceLinked="0"/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ФинРез!$A$4:$A$16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ФинРез!$C$4:$C$16</c:f>
              <c:numCache>
                <c:formatCode>General</c:formatCode>
                <c:ptCount val="11"/>
                <c:pt idx="0">
                  <c:v>262.09739999999977</c:v>
                </c:pt>
                <c:pt idx="1">
                  <c:v>371.54759999999999</c:v>
                </c:pt>
                <c:pt idx="2">
                  <c:v>507.97469999999993</c:v>
                </c:pt>
                <c:pt idx="3">
                  <c:v>409.1857</c:v>
                </c:pt>
                <c:pt idx="4">
                  <c:v>205.10969999999998</c:v>
                </c:pt>
                <c:pt idx="5">
                  <c:v>573.37969999999996</c:v>
                </c:pt>
                <c:pt idx="6">
                  <c:v>848.21680000000003</c:v>
                </c:pt>
                <c:pt idx="7">
                  <c:v>1011.8887000000003</c:v>
                </c:pt>
                <c:pt idx="8">
                  <c:v>993.58450000000005</c:v>
                </c:pt>
                <c:pt idx="9">
                  <c:v>589.1413</c:v>
                </c:pt>
                <c:pt idx="10">
                  <c:v>191.965400000000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25182920"/>
        <c:axId val="425179000"/>
      </c:barChart>
      <c:lineChart>
        <c:grouping val="standard"/>
        <c:varyColors val="1"/>
        <c:ser>
          <c:idx val="0"/>
          <c:order val="1"/>
          <c:tx>
            <c:strRef>
              <c:f>ФинРез!$E$3</c:f>
              <c:strCache>
                <c:ptCount val="1"/>
                <c:pt idx="0">
                  <c:v>Рентабельность активов (правая шкала)</c:v>
                </c:pt>
              </c:strCache>
            </c:strRef>
          </c:tx>
          <c:spPr>
            <a:ln w="53975">
              <a:solidFill>
                <a:srgbClr val="F79646">
                  <a:lumMod val="75000"/>
                </a:srgbClr>
              </a:solidFill>
              <a:prstDash val="sysDash"/>
            </a:ln>
          </c:spPr>
          <c:marker>
            <c:symbol val="none"/>
          </c:marker>
          <c:dPt>
            <c:idx val="10"/>
            <c:bubble3D val="0"/>
            <c:spPr>
              <a:ln w="53975">
                <a:solidFill>
                  <a:srgbClr val="F79646">
                    <a:lumMod val="75000"/>
                  </a:srgbClr>
                </a:solidFill>
                <a:prstDash val="sysDash"/>
              </a:ln>
            </c:spPr>
          </c:dPt>
          <c:cat>
            <c:numRef>
              <c:f>ФинРез!$A$4:$A$16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ФинРез!$E$4:$E$16</c:f>
              <c:numCache>
                <c:formatCode>0.0%</c:formatCode>
                <c:ptCount val="11"/>
                <c:pt idx="0">
                  <c:v>3.2000000000000021E-2</c:v>
                </c:pt>
                <c:pt idx="1">
                  <c:v>3.3000000000000002E-2</c:v>
                </c:pt>
                <c:pt idx="2">
                  <c:v>3.0000000000000002E-2</c:v>
                </c:pt>
                <c:pt idx="3">
                  <c:v>1.7999999999999999E-2</c:v>
                </c:pt>
                <c:pt idx="4">
                  <c:v>7.0000000000000027E-3</c:v>
                </c:pt>
                <c:pt idx="5">
                  <c:v>1.900000000000001E-2</c:v>
                </c:pt>
                <c:pt idx="6">
                  <c:v>2.4E-2</c:v>
                </c:pt>
                <c:pt idx="7">
                  <c:v>2.3E-2</c:v>
                </c:pt>
                <c:pt idx="8">
                  <c:v>1.900000000000001E-2</c:v>
                </c:pt>
                <c:pt idx="9">
                  <c:v>9.0000000000000028E-3</c:v>
                </c:pt>
                <c:pt idx="10">
                  <c:v>3.0000000000000014E-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ФинРез!$F$3</c:f>
              <c:strCache>
                <c:ptCount val="1"/>
                <c:pt idx="0">
                  <c:v>Рентабельность капитала (правая шкала)</c:v>
                </c:pt>
              </c:strCache>
            </c:strRef>
          </c:tx>
          <c:spPr>
            <a:ln w="50800">
              <a:solidFill>
                <a:srgbClr val="7030A0"/>
              </a:solidFill>
            </a:ln>
          </c:spPr>
          <c:marker>
            <c:symbol val="none"/>
          </c:marker>
          <c:dPt>
            <c:idx val="10"/>
            <c:bubble3D val="0"/>
            <c:spPr>
              <a:ln w="50800">
                <a:solidFill>
                  <a:srgbClr val="7030A0"/>
                </a:solidFill>
                <a:prstDash val="solid"/>
              </a:ln>
            </c:spPr>
          </c:dPt>
          <c:cat>
            <c:numRef>
              <c:f>ФинРез!$A$4:$A$16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ФинРез!$F$4:$F$16</c:f>
              <c:numCache>
                <c:formatCode>0.0%</c:formatCode>
                <c:ptCount val="11"/>
                <c:pt idx="0">
                  <c:v>0.24200000000000008</c:v>
                </c:pt>
                <c:pt idx="1">
                  <c:v>0.26300000000000001</c:v>
                </c:pt>
                <c:pt idx="2">
                  <c:v>0.22700000000000001</c:v>
                </c:pt>
                <c:pt idx="3">
                  <c:v>0.13300000000000001</c:v>
                </c:pt>
                <c:pt idx="4">
                  <c:v>4.900000000000003E-2</c:v>
                </c:pt>
                <c:pt idx="5">
                  <c:v>0.125</c:v>
                </c:pt>
                <c:pt idx="6">
                  <c:v>0.17600000000000007</c:v>
                </c:pt>
                <c:pt idx="7">
                  <c:v>0.18200000000000008</c:v>
                </c:pt>
                <c:pt idx="8">
                  <c:v>0.15200000000000008</c:v>
                </c:pt>
                <c:pt idx="9">
                  <c:v>7.9000000000000042E-2</c:v>
                </c:pt>
                <c:pt idx="10">
                  <c:v>2.3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5183312"/>
        <c:axId val="425186056"/>
      </c:lineChart>
      <c:catAx>
        <c:axId val="425182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>
              <a:defRPr sz="1100" b="1"/>
            </a:pPr>
            <a:endParaRPr lang="ru-RU"/>
          </a:p>
        </c:txPr>
        <c:crossAx val="425179000"/>
        <c:crosses val="autoZero"/>
        <c:auto val="1"/>
        <c:lblAlgn val="ctr"/>
        <c:lblOffset val="100"/>
        <c:noMultiLvlLbl val="0"/>
      </c:catAx>
      <c:valAx>
        <c:axId val="425179000"/>
        <c:scaling>
          <c:orientation val="minMax"/>
          <c:max val="1100"/>
          <c:min val="0"/>
        </c:scaling>
        <c:delete val="0"/>
        <c:axPos val="l"/>
        <c:majorGridlines>
          <c:spPr>
            <a:ln w="0">
              <a:solidFill>
                <a:schemeClr val="bg1">
                  <a:lumMod val="65000"/>
                </a:schemeClr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425182920"/>
        <c:crosses val="autoZero"/>
        <c:crossBetween val="between"/>
      </c:valAx>
      <c:valAx>
        <c:axId val="425186056"/>
        <c:scaling>
          <c:orientation val="minMax"/>
          <c:max val="0.27500000000000002"/>
          <c:min val="0"/>
        </c:scaling>
        <c:delete val="0"/>
        <c:axPos val="r"/>
        <c:numFmt formatCode="0%" sourceLinked="0"/>
        <c:majorTickMark val="out"/>
        <c:minorTickMark val="out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425183312"/>
        <c:crosses val="max"/>
        <c:crossBetween val="between"/>
      </c:valAx>
      <c:catAx>
        <c:axId val="4251833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2518605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"/>
          <c:y val="0.75906924223624672"/>
          <c:w val="0.99799025980075307"/>
          <c:h val="0.22629934179828401"/>
        </c:manualLayout>
      </c:layout>
      <c:overlay val="0"/>
      <c:txPr>
        <a:bodyPr/>
        <a:lstStyle/>
        <a:p>
          <a:pPr>
            <a:defRPr sz="1400" b="1"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  <c:spPr>
        <a:noFill/>
        <a:ln>
          <a:noFill/>
        </a:ln>
      </c:spPr>
    </c:sideWall>
    <c:backWall>
      <c:thickness val="0"/>
      <c:spPr>
        <a:noFill/>
        <a:ln>
          <a:noFill/>
        </a:ln>
      </c:spPr>
    </c:backWall>
    <c:plotArea>
      <c:layout>
        <c:manualLayout>
          <c:layoutTarget val="inner"/>
          <c:xMode val="edge"/>
          <c:yMode val="edge"/>
          <c:x val="0.11959175594854049"/>
          <c:y val="5.4740430173501546E-2"/>
          <c:w val="0.88040824405146056"/>
          <c:h val="0.58999352353683066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'[Диаграмма в Microsoft Office PowerPoint]36-1'!$A$2</c:f>
              <c:strCache>
                <c:ptCount val="1"/>
                <c:pt idx="0">
                  <c:v>лицензии</c:v>
                </c:pt>
              </c:strCache>
            </c:strRef>
          </c:tx>
          <c:spPr>
            <a:gradFill flip="none" rotWithShape="1">
              <a:gsLst>
                <a:gs pos="0">
                  <a:srgbClr val="FFF200"/>
                </a:gs>
                <a:gs pos="45000">
                  <a:srgbClr val="FF7A00"/>
                </a:gs>
                <a:gs pos="70000">
                  <a:srgbClr val="FF0300"/>
                </a:gs>
                <a:gs pos="100000">
                  <a:srgbClr val="4D0808"/>
                </a:gs>
              </a:gsLst>
              <a:lin ang="18900000" scaled="1"/>
              <a:tileRect/>
            </a:gradFill>
          </c:spPr>
          <c:invertIfNegative val="0"/>
          <c:dPt>
            <c:idx val="5"/>
            <c:invertIfNegative val="0"/>
            <c:bubble3D val="0"/>
            <c:spPr>
              <a:solidFill>
                <a:srgbClr val="FFC000"/>
              </a:solidFill>
            </c:spPr>
          </c:dPt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2400"/>
                      <a:t>24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z="2400" b="1"/>
                      <a:t>80-100</a:t>
                    </a:r>
                    <a:endParaRPr lang="en-US" sz="900" b="1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[Диаграмма в Microsoft Office PowerPoint]36-1'!$B$1:$G$1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*</c:v>
                </c:pt>
                <c:pt idx="5">
                  <c:v>2016**</c:v>
                </c:pt>
              </c:strCache>
            </c:strRef>
          </c:cat>
          <c:val>
            <c:numRef>
              <c:f>'[Диаграмма в Microsoft Office PowerPoint]36-1'!$B$2:$G$2</c:f>
              <c:numCache>
                <c:formatCode>General</c:formatCode>
                <c:ptCount val="6"/>
                <c:pt idx="0">
                  <c:v>28</c:v>
                </c:pt>
                <c:pt idx="1">
                  <c:v>46</c:v>
                </c:pt>
                <c:pt idx="2">
                  <c:v>87</c:v>
                </c:pt>
                <c:pt idx="3">
                  <c:v>93</c:v>
                </c:pt>
                <c:pt idx="4">
                  <c:v>18</c:v>
                </c:pt>
                <c:pt idx="5">
                  <c:v>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425185272"/>
        <c:axId val="425177040"/>
        <c:axId val="0"/>
      </c:bar3DChart>
      <c:catAx>
        <c:axId val="4251852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ru-RU"/>
          </a:p>
        </c:txPr>
        <c:crossAx val="425177040"/>
        <c:crosses val="autoZero"/>
        <c:auto val="1"/>
        <c:lblAlgn val="ctr"/>
        <c:lblOffset val="100"/>
        <c:noMultiLvlLbl val="0"/>
      </c:catAx>
      <c:valAx>
        <c:axId val="42517704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425185272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>
          <a:latin typeface="Times New Roman" pitchFamily="18" charset="0"/>
          <a:cs typeface="Times New Roman" pitchFamily="18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25"/>
      <c:rAngAx val="0"/>
      <c:perspective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3055555555555558E-2"/>
          <c:y val="0.15074069415444474"/>
          <c:w val="0.88194444444444442"/>
          <c:h val="0.74338255641367512"/>
        </c:manualLayout>
      </c:layout>
      <c:pie3DChart>
        <c:varyColors val="1"/>
        <c:ser>
          <c:idx val="0"/>
          <c:order val="0"/>
          <c:explosion val="10"/>
          <c:dPt>
            <c:idx val="0"/>
            <c:bubble3D val="0"/>
            <c:spPr>
              <a:solidFill>
                <a:srgbClr val="C00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rgbClr val="FFA7A7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rgbClr val="C1C1C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-2.5000000000000001E-2"/>
                  <c:y val="0.30670926517571867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baseline="0" dirty="0" smtClean="0">
                        <a:effectLst/>
                        <a:latin typeface="Arial Black" panose="020B0A04020102020204" pitchFamily="34" charset="0"/>
                      </a:rPr>
                      <a:t>Отмыв </a:t>
                    </a:r>
                    <a:r>
                      <a:rPr lang="ru-RU" sz="1200" b="1" baseline="0" dirty="0">
                        <a:effectLst/>
                        <a:latin typeface="Arial Black" panose="020B0A04020102020204" pitchFamily="34" charset="0"/>
                      </a:rPr>
                      <a:t>
</a:t>
                    </a:r>
                    <a:r>
                      <a:rPr lang="ru-RU" sz="1200" b="1" baseline="0" dirty="0" smtClean="0">
                        <a:effectLst/>
                        <a:latin typeface="Arial Black" panose="020B0A04020102020204" pitchFamily="34" charset="0"/>
                      </a:rPr>
                      <a:t>37%</a:t>
                    </a:r>
                    <a:endParaRPr lang="ru-RU" baseline="0" dirty="0"/>
                  </a:p>
                </c:rich>
              </c:tx>
              <c:dLblPos val="bestFit"/>
              <c:showLegendKey val="1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sz="1200" b="1" dirty="0" smtClean="0">
                        <a:effectLst/>
                        <a:latin typeface="Arial Black" panose="020B0A04020102020204" pitchFamily="34" charset="0"/>
                      </a:rPr>
                      <a:t>Потеря</a:t>
                    </a:r>
                    <a:r>
                      <a:rPr lang="ru-RU" sz="1200" b="1" baseline="0" dirty="0" smtClean="0">
                        <a:effectLst/>
                        <a:latin typeface="Arial Black" panose="020B0A04020102020204" pitchFamily="34" charset="0"/>
                      </a:rPr>
                      <a:t> капитала</a:t>
                    </a:r>
                    <a:r>
                      <a:rPr lang="ru-RU" sz="1200" b="1" baseline="0" dirty="0">
                        <a:effectLst/>
                        <a:latin typeface="Arial Black" panose="020B0A04020102020204" pitchFamily="34" charset="0"/>
                      </a:rPr>
                      <a:t>
</a:t>
                    </a:r>
                    <a:r>
                      <a:rPr lang="ru-RU" sz="1200" b="1" baseline="0" dirty="0" smtClean="0">
                        <a:effectLst/>
                        <a:latin typeface="Arial Black" panose="020B0A04020102020204" pitchFamily="34" charset="0"/>
                      </a:rPr>
                      <a:t>38%</a:t>
                    </a:r>
                    <a:endParaRPr lang="ru-RU" baseline="0" dirty="0"/>
                  </a:p>
                </c:rich>
              </c:tx>
              <c:dLblPos val="outEnd"/>
              <c:showLegendKey val="1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6388888888888889"/>
                  <c:y val="0.11501597444089456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 smtClean="0">
                        <a:effectLst/>
                        <a:latin typeface="Arial Black" panose="020B0A04020102020204" pitchFamily="34" charset="0"/>
                      </a:rPr>
                      <a:t>Прочие </a:t>
                    </a:r>
                    <a:r>
                      <a:rPr lang="ru-RU" sz="1200" b="1" baseline="0" dirty="0">
                        <a:effectLst/>
                        <a:latin typeface="Arial Black" panose="020B0A04020102020204" pitchFamily="34" charset="0"/>
                      </a:rPr>
                      <a:t>
</a:t>
                    </a:r>
                    <a:r>
                      <a:rPr lang="ru-RU" sz="1200" b="1" baseline="0" dirty="0" smtClean="0">
                        <a:effectLst/>
                        <a:latin typeface="Arial Black" panose="020B0A04020102020204" pitchFamily="34" charset="0"/>
                      </a:rPr>
                      <a:t>25%</a:t>
                    </a:r>
                    <a:endParaRPr lang="ru-RU" baseline="0" dirty="0"/>
                  </a:p>
                </c:rich>
              </c:tx>
              <c:dLblPos val="bestFit"/>
              <c:showLegendKey val="1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1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5!$I$2:$K$2</c:f>
              <c:strCache>
                <c:ptCount val="3"/>
                <c:pt idx="0">
                  <c:v>Launder</c:v>
                </c:pt>
                <c:pt idx="1">
                  <c:v>Capital Loss</c:v>
                </c:pt>
                <c:pt idx="2">
                  <c:v>Other</c:v>
                </c:pt>
              </c:strCache>
            </c:strRef>
          </c:cat>
          <c:val>
            <c:numRef>
              <c:f>Sheet15!$I$4:$K$4</c:f>
              <c:numCache>
                <c:formatCode>General</c:formatCode>
                <c:ptCount val="3"/>
                <c:pt idx="0">
                  <c:v>85</c:v>
                </c:pt>
                <c:pt idx="1">
                  <c:v>87</c:v>
                </c:pt>
                <c:pt idx="2">
                  <c:v>5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2">
        <a:lumMod val="20000"/>
        <a:lumOff val="80000"/>
      </a:schemeClr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25"/>
      <c:rAngAx val="0"/>
      <c:perspective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3055555555555558E-2"/>
          <c:y val="0.15074069415444474"/>
          <c:w val="0.88194444444444442"/>
          <c:h val="0.74338255641367512"/>
        </c:manualLayout>
      </c:layout>
      <c:pie3DChart>
        <c:varyColors val="1"/>
        <c:ser>
          <c:idx val="0"/>
          <c:order val="0"/>
          <c:explosion val="10"/>
          <c:dPt>
            <c:idx val="0"/>
            <c:bubble3D val="0"/>
            <c:spPr>
              <a:solidFill>
                <a:srgbClr val="E10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rgbClr val="FFA7A7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rgbClr val="C1C1C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-1.6641641641641641E-2"/>
                  <c:y val="-0.12446944444444444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 smtClean="0">
                        <a:latin typeface="Arial Black" panose="020B0A04020102020204" pitchFamily="34" charset="0"/>
                      </a:rPr>
                      <a:t>Отмыв</a:t>
                    </a:r>
                  </a:p>
                  <a:p>
                    <a:r>
                      <a:rPr lang="ru-RU" sz="1200" b="1" baseline="0" dirty="0" smtClean="0">
                        <a:latin typeface="Arial Black" panose="020B0A04020102020204" pitchFamily="34" charset="0"/>
                      </a:rPr>
                      <a:t>23%</a:t>
                    </a:r>
                    <a:endParaRPr lang="ru-RU" dirty="0"/>
                  </a:p>
                </c:rich>
              </c:tx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sz="1200" b="1" dirty="0" smtClean="0">
                        <a:latin typeface="Arial Black" panose="020B0A04020102020204" pitchFamily="34" charset="0"/>
                      </a:rPr>
                      <a:t>Потеря капитала </a:t>
                    </a:r>
                    <a:r>
                      <a:rPr lang="ru-RU" sz="1200" b="1" baseline="0" dirty="0" smtClean="0">
                        <a:latin typeface="Arial Black" panose="020B0A04020102020204" pitchFamily="34" charset="0"/>
                      </a:rPr>
                      <a:t>53%</a:t>
                    </a:r>
                    <a:endParaRPr lang="ru-RU" dirty="0" smtClean="0"/>
                  </a:p>
                </c:rich>
              </c:tx>
              <c:dLblPos val="outEnd"/>
              <c:showLegendKey val="1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4999999999999997"/>
                  <c:y val="7.6485119871198215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 smtClean="0">
                        <a:latin typeface="Arial Black" panose="020B0A04020102020204" pitchFamily="34" charset="0"/>
                      </a:rPr>
                      <a:t>Прочие</a:t>
                    </a:r>
                    <a:r>
                      <a:rPr lang="ru-RU" sz="1200" b="1" baseline="0" dirty="0" smtClean="0">
                        <a:latin typeface="Arial Black" panose="020B0A04020102020204" pitchFamily="34" charset="0"/>
                      </a:rPr>
                      <a:t> 24%</a:t>
                    </a:r>
                    <a:endParaRPr lang="ru-RU" baseline="0" dirty="0" smtClean="0"/>
                  </a:p>
                </c:rich>
              </c:tx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1"/>
            <c:showVal val="0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5!$I$2:$K$2</c:f>
              <c:strCache>
                <c:ptCount val="3"/>
                <c:pt idx="0">
                  <c:v>Launder</c:v>
                </c:pt>
                <c:pt idx="1">
                  <c:v>Capital Loss</c:v>
                </c:pt>
                <c:pt idx="2">
                  <c:v>Other</c:v>
                </c:pt>
              </c:strCache>
            </c:strRef>
          </c:cat>
          <c:val>
            <c:numRef>
              <c:f>Sheet15!$I$3:$K$3</c:f>
              <c:numCache>
                <c:formatCode>#,##0.0</c:formatCode>
                <c:ptCount val="3"/>
                <c:pt idx="0">
                  <c:v>599467.98200000008</c:v>
                </c:pt>
                <c:pt idx="1">
                  <c:v>1440610.0579999997</c:v>
                </c:pt>
                <c:pt idx="2">
                  <c:v>557483.843999999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FFFF00"/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1275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851086-C25C-4F9A-AD2A-947BC7905BF5}" type="datetimeFigureOut">
              <a:rPr lang="ru-RU" smtClean="0"/>
              <a:pPr/>
              <a:t>25.03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40363" cy="44688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1338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1275" y="9431338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446C23-EA0C-4982-8B25-5E0E2F4ADD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5548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446C23-EA0C-4982-8B25-5E0E2F4ADDDC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492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7575" y="744538"/>
            <a:ext cx="4964113" cy="3722687"/>
          </a:xfrm>
          <a:ln/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285779" indent="-285779">
              <a:buFont typeface="Arial" panose="020B0604020202020204" pitchFamily="34" charset="0"/>
              <a:buChar char="•"/>
            </a:pPr>
            <a:r>
              <a:rPr lang="ru-RU" altLang="ru-RU" sz="1000" dirty="0">
                <a:latin typeface="Arial" panose="020B0604020202020204" pitchFamily="34" charset="0"/>
              </a:rPr>
              <a:t>Далее, с точки зрения числа отзывов, уменьшение численности банков позиционируется как борьба с криминальными аспектами деятельности банков или псевдо-банков. Однако в сумме активов кредитных организаций с обнятыми лицензиями доля соответствующих банков – менее четверти. </a:t>
            </a:r>
          </a:p>
          <a:p>
            <a:pPr marL="285779" indent="-285779">
              <a:buFont typeface="Arial" panose="020B0604020202020204" pitchFamily="34" charset="0"/>
              <a:buChar char="•"/>
            </a:pPr>
            <a:endParaRPr lang="ru-RU" altLang="ru-RU" sz="1000" dirty="0">
              <a:latin typeface="Arial" panose="020B0604020202020204" pitchFamily="34" charset="0"/>
            </a:endParaRPr>
          </a:p>
          <a:p>
            <a:pPr marL="285779" indent="-285779">
              <a:buFont typeface="Arial" panose="020B0604020202020204" pitchFamily="34" charset="0"/>
              <a:buChar char="•"/>
            </a:pPr>
            <a:r>
              <a:rPr lang="ru-RU" altLang="ru-RU" sz="1000" dirty="0">
                <a:latin typeface="Arial" panose="020B0604020202020204" pitchFamily="34" charset="0"/>
              </a:rPr>
              <a:t>Основной объем активов приходится на банки, у которых произошло нарушение нормативов и потеря капитала – т.е. на организации, которые и сами по себе в обозримой перспективе перестали бы существовать. </a:t>
            </a:r>
          </a:p>
          <a:p>
            <a:pPr marL="285779" indent="-285779">
              <a:buFont typeface="Arial" panose="020B0604020202020204" pitchFamily="34" charset="0"/>
              <a:buChar char="•"/>
            </a:pPr>
            <a:endParaRPr lang="ru-RU" altLang="ru-RU" sz="1000" dirty="0">
              <a:latin typeface="Arial" panose="020B0604020202020204" pitchFamily="34" charset="0"/>
            </a:endParaRPr>
          </a:p>
          <a:p>
            <a:pPr marL="285779" indent="-285779">
              <a:buFont typeface="Arial" panose="020B0604020202020204" pitchFamily="34" charset="0"/>
              <a:buChar char="•"/>
            </a:pPr>
            <a:r>
              <a:rPr lang="ru-RU" altLang="ru-RU" sz="1000" dirty="0">
                <a:latin typeface="Arial" panose="020B0604020202020204" pitchFamily="34" charset="0"/>
              </a:rPr>
              <a:t>И в этом месте закономерны два вопроса: </a:t>
            </a:r>
            <a:endParaRPr lang="ru-RU" altLang="ru-RU" dirty="0" smtClean="0">
              <a:latin typeface="Arial" panose="020B0604020202020204" pitchFamily="34" charset="0"/>
            </a:endParaRPr>
          </a:p>
        </p:txBody>
      </p:sp>
      <p:sp>
        <p:nvSpPr>
          <p:cNvPr id="184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3024" indent="-285779"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114" indent="-228623"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360" indent="-228623"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606" indent="-228623"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851" indent="-22862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2097" indent="-22862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343" indent="-22862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589" indent="-22862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079211CC-208D-4A67-90C1-3177DCFD76D4}" type="slidenum">
              <a:rPr lang="en-US" altLang="ru-RU" smtClean="0">
                <a:solidFill>
                  <a:prstClr val="black"/>
                </a:solidFill>
              </a:rPr>
              <a:pPr/>
              <a:t>11</a:t>
            </a:fld>
            <a:endParaRPr lang="en-US" altLang="ru-RU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131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917119-53EA-4947-8008-B047EF405F1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B444CC-7550-4FB2-BB07-AE681455128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3443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add tit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066C55-7B2C-45A8-895F-19991A8C019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2147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47A9F6-A106-48E0-9E26-F85F72AF1DE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02894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B2E595-5420-4E00-9FF7-1B12C104AF2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9825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D98CC-8EFF-422F-B794-E1887EBEDC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5050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CBE68-229A-4FC9-93D1-5E4C3D5051A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0156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AE8B1B-DEAB-46F2-8104-9160D3BC777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3122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194A67-79A3-42D4-BEFD-9DD8D724B48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836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374228-D4A9-49FA-92C8-2F512ECBB1C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466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DA8243-1E58-4CA6-93F0-08B03F63CAF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13736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6CDBA-4963-4587-935E-FEE6A7CDEB3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43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7549A1-D266-44F1-A7E9-64D5E7301AE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7548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D70BE-17BB-44C8-A7C3-3C237CCE687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7402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F187B-4FCA-45F3-816B-CB3F590220B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3146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 bwMode="auto">
          <a:xfrm>
            <a:off x="0" y="4393478"/>
            <a:ext cx="9144000" cy="2464523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644" tIns="38323" rIns="76644" bIns="38323" numCol="1" rtlCol="0" anchor="t" anchorCtr="0" compatLnSpc="1">
            <a:prstTxWarp prst="textNoShape">
              <a:avLst/>
            </a:prstTxWarp>
          </a:bodyPr>
          <a:lstStyle/>
          <a:p>
            <a:pPr defTabSz="766445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1000" u="sng">
              <a:solidFill>
                <a:srgbClr val="000000"/>
              </a:solidFill>
            </a:endParaRPr>
          </a:p>
        </p:txBody>
      </p:sp>
      <p:pic>
        <p:nvPicPr>
          <p:cNvPr id="6" name="Immagine 8" descr="Composite Logo UCL UEL 3D CMYK 2015 28 mm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8313" y="517415"/>
            <a:ext cx="914375" cy="1020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0562" y="887345"/>
            <a:ext cx="6663797" cy="2713106"/>
          </a:xfrm>
        </p:spPr>
        <p:txBody>
          <a:bodyPr anchor="t"/>
          <a:lstStyle>
            <a:lvl1pPr>
              <a:lnSpc>
                <a:spcPts val="3521"/>
              </a:lnSpc>
              <a:defRPr sz="3500" b="1" i="0" baseline="0">
                <a:latin typeface="UniCredit"/>
              </a:defRPr>
            </a:lvl1pPr>
          </a:lstStyle>
          <a:p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title</a:t>
            </a:r>
            <a:endParaRPr lang="en-GB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92315" y="3643005"/>
            <a:ext cx="8194207" cy="580956"/>
          </a:xfrm>
        </p:spPr>
        <p:txBody>
          <a:bodyPr anchor="b"/>
          <a:lstStyle>
            <a:lvl1pPr marL="0" indent="0">
              <a:lnSpc>
                <a:spcPts val="2348"/>
              </a:lnSpc>
              <a:spcBef>
                <a:spcPts val="0"/>
              </a:spcBef>
              <a:buFont typeface="Wingdings" charset="0"/>
              <a:buNone/>
              <a:defRPr sz="2400">
                <a:latin typeface="UniCredit"/>
              </a:defRPr>
            </a:lvl1pPr>
          </a:lstStyle>
          <a:p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subtitle</a:t>
            </a:r>
            <a:endParaRPr lang="en-GB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511018" y="4776176"/>
            <a:ext cx="4060516" cy="295587"/>
          </a:xfrm>
        </p:spPr>
        <p:txBody>
          <a:bodyPr/>
          <a:lstStyle>
            <a:lvl1pPr marL="0" indent="0">
              <a:buFontTx/>
              <a:buNone/>
              <a:defRPr baseline="0">
                <a:latin typeface="UniCredit Medium" pitchFamily="50" charset="0"/>
              </a:defRPr>
            </a:lvl1pPr>
            <a:lvl2pPr marL="319353" indent="0">
              <a:buFontTx/>
              <a:buNone/>
              <a:defRPr/>
            </a:lvl2pPr>
            <a:lvl3pPr marL="640034" indent="0">
              <a:buFontTx/>
              <a:buNone/>
              <a:defRPr/>
            </a:lvl3pPr>
            <a:lvl4pPr marL="960718" indent="0">
              <a:buFontTx/>
              <a:buNone/>
              <a:defRPr/>
            </a:lvl4pPr>
            <a:lvl5pPr marL="1276077" indent="0">
              <a:buFontTx/>
              <a:buNone/>
              <a:defRPr/>
            </a:lvl5pPr>
          </a:lstStyle>
          <a:p>
            <a:pPr lvl="0"/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name</a:t>
            </a:r>
            <a:r>
              <a:rPr lang="it-IT" dirty="0" smtClean="0"/>
              <a:t> and a </a:t>
            </a:r>
            <a:r>
              <a:rPr lang="it-IT" dirty="0" err="1" smtClean="0"/>
              <a:t>function</a:t>
            </a:r>
            <a:endParaRPr lang="it-IT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515744" y="5101148"/>
            <a:ext cx="4055790" cy="123111"/>
          </a:xfrm>
        </p:spPr>
        <p:txBody>
          <a:bodyPr wrap="square">
            <a:spAutoFit/>
          </a:bodyPr>
          <a:lstStyle>
            <a:lvl1pPr marL="0" indent="0">
              <a:buFontTx/>
              <a:buNone/>
              <a:defRPr sz="800" baseline="0">
                <a:latin typeface="UniCredit Medium" pitchFamily="50" charset="0"/>
              </a:defRPr>
            </a:lvl1pPr>
          </a:lstStyle>
          <a:p>
            <a:pPr lvl="0"/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City and a date</a:t>
            </a:r>
            <a:endParaRPr lang="it-IT" dirty="0"/>
          </a:p>
        </p:txBody>
      </p:sp>
      <p:pic>
        <p:nvPicPr>
          <p:cNvPr id="5" name="Immagine 4" descr="UC brand CMYK 3D 12mm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902" y="5753802"/>
            <a:ext cx="2121873" cy="65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1718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immagine 11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4394200"/>
          </a:xfrm>
        </p:spPr>
        <p:txBody>
          <a:bodyPr anchor="ctr" anchorCtr="1"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Rettangolo 3"/>
          <p:cNvSpPr/>
          <p:nvPr/>
        </p:nvSpPr>
        <p:spPr bwMode="auto">
          <a:xfrm>
            <a:off x="0" y="4393478"/>
            <a:ext cx="9144000" cy="2464523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6644" tIns="38323" rIns="76644" bIns="38323" numCol="1" rtlCol="0" anchor="t" anchorCtr="0" compatLnSpc="1">
            <a:prstTxWarp prst="textNoShape">
              <a:avLst/>
            </a:prstTxWarp>
          </a:bodyPr>
          <a:lstStyle/>
          <a:p>
            <a:pPr defTabSz="766445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1000" u="sng">
              <a:solidFill>
                <a:srgbClr val="000000"/>
              </a:solidFill>
            </a:endParaRPr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80562" y="887346"/>
            <a:ext cx="6663797" cy="839855"/>
          </a:xfrm>
        </p:spPr>
        <p:txBody>
          <a:bodyPr anchor="t"/>
          <a:lstStyle>
            <a:lvl1pPr>
              <a:lnSpc>
                <a:spcPts val="3521"/>
              </a:lnSpc>
              <a:defRPr sz="3500" b="1" i="0" baseline="0">
                <a:latin typeface="UniCredit"/>
              </a:defRPr>
            </a:lvl1pPr>
          </a:lstStyle>
          <a:p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title</a:t>
            </a:r>
            <a:endParaRPr lang="en-GB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92315" y="3643005"/>
            <a:ext cx="8194207" cy="580956"/>
          </a:xfrm>
        </p:spPr>
        <p:txBody>
          <a:bodyPr anchor="b"/>
          <a:lstStyle>
            <a:lvl1pPr marL="0" indent="0">
              <a:lnSpc>
                <a:spcPts val="2348"/>
              </a:lnSpc>
              <a:spcBef>
                <a:spcPts val="0"/>
              </a:spcBef>
              <a:buFont typeface="Wingdings" charset="0"/>
              <a:buNone/>
              <a:defRPr sz="2400">
                <a:latin typeface="UniCredit"/>
              </a:defRPr>
            </a:lvl1pPr>
          </a:lstStyle>
          <a:p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subtitle</a:t>
            </a:r>
            <a:endParaRPr lang="en-GB" dirty="0"/>
          </a:p>
        </p:txBody>
      </p:sp>
      <p:sp>
        <p:nvSpPr>
          <p:cNvPr id="8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511018" y="4776176"/>
            <a:ext cx="4060516" cy="295587"/>
          </a:xfrm>
        </p:spPr>
        <p:txBody>
          <a:bodyPr/>
          <a:lstStyle>
            <a:lvl1pPr marL="0" indent="0">
              <a:buFontTx/>
              <a:buNone/>
              <a:defRPr baseline="0">
                <a:latin typeface="UniCredit Medium" pitchFamily="50" charset="0"/>
              </a:defRPr>
            </a:lvl1pPr>
            <a:lvl2pPr marL="319353" indent="0">
              <a:buFontTx/>
              <a:buNone/>
              <a:defRPr/>
            </a:lvl2pPr>
            <a:lvl3pPr marL="640034" indent="0">
              <a:buFontTx/>
              <a:buNone/>
              <a:defRPr/>
            </a:lvl3pPr>
            <a:lvl4pPr marL="960718" indent="0">
              <a:buFontTx/>
              <a:buNone/>
              <a:defRPr/>
            </a:lvl4pPr>
            <a:lvl5pPr marL="1276077" indent="0">
              <a:buFontTx/>
              <a:buNone/>
              <a:defRPr/>
            </a:lvl5pPr>
          </a:lstStyle>
          <a:p>
            <a:pPr lvl="0"/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name</a:t>
            </a:r>
            <a:r>
              <a:rPr lang="it-IT" dirty="0" smtClean="0"/>
              <a:t> and a </a:t>
            </a:r>
            <a:r>
              <a:rPr lang="it-IT" dirty="0" err="1" smtClean="0"/>
              <a:t>function</a:t>
            </a:r>
            <a:endParaRPr lang="it-IT" dirty="0" smtClean="0"/>
          </a:p>
        </p:txBody>
      </p:sp>
      <p:sp>
        <p:nvSpPr>
          <p:cNvPr id="9" name="Segnaposto testo 3"/>
          <p:cNvSpPr>
            <a:spLocks noGrp="1"/>
          </p:cNvSpPr>
          <p:nvPr>
            <p:ph type="body" sz="quarter" idx="12" hasCustomPrompt="1"/>
          </p:nvPr>
        </p:nvSpPr>
        <p:spPr>
          <a:xfrm>
            <a:off x="515744" y="5101148"/>
            <a:ext cx="4055790" cy="123111"/>
          </a:xfrm>
        </p:spPr>
        <p:txBody>
          <a:bodyPr wrap="square">
            <a:spAutoFit/>
          </a:bodyPr>
          <a:lstStyle>
            <a:lvl1pPr marL="0" indent="0">
              <a:buFontTx/>
              <a:buNone/>
              <a:defRPr sz="800" baseline="0">
                <a:latin typeface="UniCredit Medium" pitchFamily="50" charset="0"/>
              </a:defRPr>
            </a:lvl1pPr>
          </a:lstStyle>
          <a:p>
            <a:pPr lvl="0"/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City and a date</a:t>
            </a:r>
            <a:endParaRPr lang="it-IT" dirty="0"/>
          </a:p>
        </p:txBody>
      </p:sp>
      <p:pic>
        <p:nvPicPr>
          <p:cNvPr id="10" name="Immagine 9" descr="UC brand CMYK 3D 12mm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902" y="5753802"/>
            <a:ext cx="2121873" cy="659407"/>
          </a:xfrm>
          <a:prstGeom prst="rect">
            <a:avLst/>
          </a:prstGeom>
        </p:spPr>
      </p:pic>
      <p:sp>
        <p:nvSpPr>
          <p:cNvPr id="3" name="Segnaposto immagine 2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829374" y="516988"/>
            <a:ext cx="914400" cy="1022475"/>
          </a:xfrm>
        </p:spPr>
        <p:txBody>
          <a:bodyPr anchor="ctr"/>
          <a:lstStyle>
            <a:lvl1pPr marL="0" indent="0" algn="ctr">
              <a:buFontTx/>
              <a:buNone/>
              <a:defRPr sz="1400" b="1"/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composite log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79358562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n Agenda</a:t>
            </a:r>
            <a:endParaRPr lang="it-IT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7055" y="6307305"/>
            <a:ext cx="361669" cy="33586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209B02-9294-44E2-9F7A-9563D600DC20}" type="slidenum">
              <a:rPr lang="en-US" altLang="ru-RU" smtClean="0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43726957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GB" altLang="it-IT" dirty="0" smtClean="0"/>
              <a:t>This is a titl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7053" y="6307305"/>
            <a:ext cx="361668" cy="33586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209B02-9294-44E2-9F7A-9563D600DC20}" type="slidenum">
              <a:rPr lang="en-US" altLang="ru-RU" smtClean="0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2" hasCustomPrompt="1"/>
          </p:nvPr>
        </p:nvSpPr>
        <p:spPr>
          <a:xfrm>
            <a:off x="618441" y="6346640"/>
            <a:ext cx="7668357" cy="296529"/>
          </a:xfrm>
        </p:spPr>
        <p:txBody>
          <a:bodyPr/>
          <a:lstStyle>
            <a:lvl1pPr marL="0" indent="0" algn="just">
              <a:lnSpc>
                <a:spcPts val="833"/>
              </a:lnSpc>
              <a:buFontTx/>
              <a:buNone/>
              <a:defRPr sz="700"/>
            </a:lvl1pPr>
            <a:lvl2pPr marL="319353" indent="0">
              <a:buFontTx/>
              <a:buNone/>
              <a:defRPr/>
            </a:lvl2pPr>
            <a:lvl3pPr marL="640034" indent="0">
              <a:buFontTx/>
              <a:buNone/>
              <a:defRPr/>
            </a:lvl3pPr>
            <a:lvl4pPr marL="960718" indent="0">
              <a:buFontTx/>
              <a:buNone/>
              <a:defRPr/>
            </a:lvl4pPr>
            <a:lvl5pPr marL="1276077" indent="0">
              <a:buFontTx/>
              <a:buNone/>
              <a:defRPr/>
            </a:lvl5pPr>
          </a:lstStyle>
          <a:p>
            <a:pPr lvl="0"/>
            <a:r>
              <a:rPr lang="it-IT" dirty="0" smtClean="0"/>
              <a:t>not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10071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titl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333025" y="1199737"/>
            <a:ext cx="3763332" cy="480196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046152" y="1199737"/>
            <a:ext cx="3764824" cy="480196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7055" y="6307305"/>
            <a:ext cx="361669" cy="33586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209B02-9294-44E2-9F7A-9563D600DC20}" type="slidenum">
              <a:rPr lang="en-US" altLang="ru-RU" smtClean="0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2" hasCustomPrompt="1"/>
          </p:nvPr>
        </p:nvSpPr>
        <p:spPr>
          <a:xfrm>
            <a:off x="618441" y="6346640"/>
            <a:ext cx="7668357" cy="296529"/>
          </a:xfrm>
        </p:spPr>
        <p:txBody>
          <a:bodyPr/>
          <a:lstStyle>
            <a:lvl1pPr marL="0" indent="0" algn="just">
              <a:lnSpc>
                <a:spcPts val="833"/>
              </a:lnSpc>
              <a:buFontTx/>
              <a:buNone/>
              <a:defRPr sz="700"/>
            </a:lvl1pPr>
            <a:lvl2pPr marL="319353" indent="0">
              <a:buFontTx/>
              <a:buNone/>
              <a:defRPr/>
            </a:lvl2pPr>
            <a:lvl3pPr marL="640034" indent="0">
              <a:buFontTx/>
              <a:buNone/>
              <a:defRPr/>
            </a:lvl3pPr>
            <a:lvl4pPr marL="960718" indent="0">
              <a:buFontTx/>
              <a:buNone/>
              <a:defRPr/>
            </a:lvl4pPr>
            <a:lvl5pPr marL="1276077" indent="0">
              <a:buFontTx/>
              <a:buNone/>
              <a:defRPr/>
            </a:lvl5pPr>
          </a:lstStyle>
          <a:p>
            <a:pPr lvl="0"/>
            <a:r>
              <a:rPr lang="it-IT" dirty="0" smtClean="0"/>
              <a:t>not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0411104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27054" y="0"/>
            <a:ext cx="8483923" cy="1034827"/>
          </a:xfrm>
        </p:spPr>
        <p:txBody>
          <a:bodyPr/>
          <a:lstStyle/>
          <a:p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title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sz="half" idx="1"/>
          </p:nvPr>
        </p:nvSpPr>
        <p:spPr>
          <a:xfrm>
            <a:off x="319587" y="1199737"/>
            <a:ext cx="4257643" cy="480196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4" name="Segnaposto grafico 3"/>
          <p:cNvSpPr>
            <a:spLocks noGrp="1"/>
          </p:cNvSpPr>
          <p:nvPr>
            <p:ph type="chart" sz="half" idx="2"/>
          </p:nvPr>
        </p:nvSpPr>
        <p:spPr>
          <a:xfrm>
            <a:off x="5046152" y="1199737"/>
            <a:ext cx="3764824" cy="4801961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it-IT" noProof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7055" y="6307305"/>
            <a:ext cx="361669" cy="33586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209B02-9294-44E2-9F7A-9563D600DC20}" type="slidenum">
              <a:rPr lang="en-US" altLang="ru-RU" smtClean="0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7" name="Segnaposto testo 7"/>
          <p:cNvSpPr>
            <a:spLocks noGrp="1"/>
          </p:cNvSpPr>
          <p:nvPr>
            <p:ph type="body" sz="quarter" idx="12" hasCustomPrompt="1"/>
          </p:nvPr>
        </p:nvSpPr>
        <p:spPr>
          <a:xfrm>
            <a:off x="618441" y="6346640"/>
            <a:ext cx="7668357" cy="296529"/>
          </a:xfrm>
        </p:spPr>
        <p:txBody>
          <a:bodyPr/>
          <a:lstStyle>
            <a:lvl1pPr marL="0" indent="0" algn="just">
              <a:lnSpc>
                <a:spcPts val="833"/>
              </a:lnSpc>
              <a:buFontTx/>
              <a:buNone/>
              <a:defRPr sz="700"/>
            </a:lvl1pPr>
            <a:lvl2pPr marL="319353" indent="0">
              <a:buFontTx/>
              <a:buNone/>
              <a:defRPr/>
            </a:lvl2pPr>
            <a:lvl3pPr marL="640034" indent="0">
              <a:buFontTx/>
              <a:buNone/>
              <a:defRPr/>
            </a:lvl3pPr>
            <a:lvl4pPr marL="960718" indent="0">
              <a:buFontTx/>
              <a:buNone/>
              <a:defRPr/>
            </a:lvl4pPr>
            <a:lvl5pPr marL="1276077" indent="0">
              <a:buFontTx/>
              <a:buNone/>
              <a:defRPr/>
            </a:lvl5pPr>
          </a:lstStyle>
          <a:p>
            <a:pPr lvl="0"/>
            <a:r>
              <a:rPr lang="it-IT" dirty="0" smtClean="0"/>
              <a:t>not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8065478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nal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27054" y="0"/>
            <a:ext cx="8483923" cy="1028776"/>
          </a:xfrm>
        </p:spPr>
        <p:txBody>
          <a:bodyPr/>
          <a:lstStyle/>
          <a:p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title</a:t>
            </a:r>
            <a:endParaRPr lang="it-IT" dirty="0"/>
          </a:p>
        </p:txBody>
      </p:sp>
      <p:sp>
        <p:nvSpPr>
          <p:cNvPr id="3" name="Segnaposto grafico 2"/>
          <p:cNvSpPr>
            <a:spLocks noGrp="1"/>
          </p:cNvSpPr>
          <p:nvPr>
            <p:ph type="chart" sz="half" idx="1"/>
          </p:nvPr>
        </p:nvSpPr>
        <p:spPr>
          <a:xfrm>
            <a:off x="327053" y="1199737"/>
            <a:ext cx="3763332" cy="4801961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it-IT" noProof="0" dirty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7230" y="1199737"/>
            <a:ext cx="4233747" cy="480196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27055" y="6307305"/>
            <a:ext cx="361669" cy="33586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209B02-9294-44E2-9F7A-9563D600DC20}" type="slidenum">
              <a:rPr lang="en-US" altLang="ru-RU" smtClean="0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6" name="Segnaposto testo 7"/>
          <p:cNvSpPr>
            <a:spLocks noGrp="1"/>
          </p:cNvSpPr>
          <p:nvPr>
            <p:ph type="body" sz="quarter" idx="12" hasCustomPrompt="1"/>
          </p:nvPr>
        </p:nvSpPr>
        <p:spPr>
          <a:xfrm>
            <a:off x="618441" y="6346640"/>
            <a:ext cx="7668357" cy="296529"/>
          </a:xfrm>
        </p:spPr>
        <p:txBody>
          <a:bodyPr/>
          <a:lstStyle>
            <a:lvl1pPr marL="0" indent="0" algn="just">
              <a:lnSpc>
                <a:spcPts val="833"/>
              </a:lnSpc>
              <a:buFontTx/>
              <a:buNone/>
              <a:defRPr sz="700"/>
            </a:lvl1pPr>
            <a:lvl2pPr marL="319353" indent="0">
              <a:buFontTx/>
              <a:buNone/>
              <a:defRPr/>
            </a:lvl2pPr>
            <a:lvl3pPr marL="640034" indent="0">
              <a:buFontTx/>
              <a:buNone/>
              <a:defRPr/>
            </a:lvl3pPr>
            <a:lvl4pPr marL="960718" indent="0">
              <a:buFontTx/>
              <a:buNone/>
              <a:defRPr/>
            </a:lvl4pPr>
            <a:lvl5pPr marL="1276077" indent="0">
              <a:buFontTx/>
              <a:buNone/>
              <a:defRPr/>
            </a:lvl5pPr>
          </a:lstStyle>
          <a:p>
            <a:pPr lvl="0"/>
            <a:r>
              <a:rPr lang="it-IT" dirty="0" smtClean="0"/>
              <a:t>not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5831155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F3AC9A-DD5F-4BCD-AF03-5576D5B802F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1458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(motivational) Route A ">
    <p:bg>
      <p:bgPr>
        <a:blipFill rotWithShape="0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immagine 10"/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9144000" cy="6856487"/>
          </a:xfrm>
          <a:ln>
            <a:noFill/>
          </a:ln>
        </p:spPr>
        <p:txBody>
          <a:bodyPr anchor="ctr" anchorCtr="1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it-IT" dirty="0"/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912461" y="829072"/>
            <a:ext cx="3896242" cy="1470544"/>
          </a:xfrm>
        </p:spPr>
        <p:txBody>
          <a:bodyPr anchor="t" anchorCtr="0"/>
          <a:lstStyle>
            <a:lvl1pPr>
              <a:lnSpc>
                <a:spcPts val="2779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tit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41866271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(motivational) Rout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title</a:t>
            </a:r>
            <a:endParaRPr lang="it-IT" dirty="0"/>
          </a:p>
        </p:txBody>
      </p:sp>
      <p:sp>
        <p:nvSpPr>
          <p:cNvPr id="7" name="Segnaposto immagine 6"/>
          <p:cNvSpPr>
            <a:spLocks noGrp="1"/>
          </p:cNvSpPr>
          <p:nvPr>
            <p:ph type="pic" sz="quarter" idx="10"/>
          </p:nvPr>
        </p:nvSpPr>
        <p:spPr>
          <a:xfrm>
            <a:off x="0" y="1033315"/>
            <a:ext cx="9144000" cy="5823172"/>
          </a:xfrm>
          <a:ln>
            <a:noFill/>
          </a:ln>
        </p:spPr>
        <p:txBody>
          <a:bodyPr anchor="ctr" anchorCtr="1"/>
          <a:lstStyle/>
          <a:p>
            <a:r>
              <a:rPr lang="en-US" smtClean="0"/>
              <a:t>Click icon to add picture</a:t>
            </a:r>
            <a:endParaRPr lang="it-IT"/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0" y="1033315"/>
            <a:ext cx="9144000" cy="0"/>
          </a:xfrm>
          <a:prstGeom prst="line">
            <a:avLst/>
          </a:prstGeom>
          <a:noFill/>
          <a:ln w="19050">
            <a:solidFill>
              <a:srgbClr val="2EAEDA"/>
            </a:solidFill>
            <a:round/>
            <a:headEnd/>
            <a:tailEnd type="non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250191"/>
      </p:ext>
    </p:extLst>
  </p:cSld>
  <p:clrMapOvr>
    <a:masterClrMapping/>
  </p:clrMapOvr>
  <p:hf sldNum="0"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(motivational) Rout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/>
          <p:cNvSpPr/>
          <p:nvPr/>
        </p:nvSpPr>
        <p:spPr bwMode="auto">
          <a:xfrm>
            <a:off x="2" y="5237316"/>
            <a:ext cx="9145421" cy="1620685"/>
          </a:xfrm>
          <a:prstGeom prst="rect">
            <a:avLst/>
          </a:prstGeom>
          <a:gradFill flip="none" rotWithShape="1">
            <a:gsLst>
              <a:gs pos="11000">
                <a:schemeClr val="bg1">
                  <a:alpha val="78000"/>
                </a:schemeClr>
              </a:gs>
              <a:gs pos="100000">
                <a:srgbClr val="2EAEDA">
                  <a:alpha val="78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758" tIns="45379" rIns="90758" bIns="45379" numCol="1" rtlCol="0" anchor="t" anchorCtr="0" compatLnSpc="1">
            <a:prstTxWarp prst="textNoShape">
              <a:avLst/>
            </a:prstTxWarp>
          </a:bodyPr>
          <a:lstStyle/>
          <a:p>
            <a:pPr defTabSz="766445"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1000" u="sng">
              <a:solidFill>
                <a:srgbClr val="000000"/>
              </a:solidFill>
            </a:endParaRPr>
          </a:p>
        </p:txBody>
      </p:sp>
      <p:sp>
        <p:nvSpPr>
          <p:cNvPr id="9" name="Titolo 1"/>
          <p:cNvSpPr>
            <a:spLocks noGrp="1"/>
          </p:cNvSpPr>
          <p:nvPr>
            <p:ph type="title" hasCustomPrompt="1"/>
          </p:nvPr>
        </p:nvSpPr>
        <p:spPr>
          <a:xfrm>
            <a:off x="536128" y="5289118"/>
            <a:ext cx="8477949" cy="978851"/>
          </a:xfrm>
        </p:spPr>
        <p:txBody>
          <a:bodyPr anchor="b" anchorCtr="0"/>
          <a:lstStyle>
            <a:lvl1pPr>
              <a:lnSpc>
                <a:spcPts val="2779"/>
              </a:lnSpc>
              <a:defRPr sz="2800" baseline="0"/>
            </a:lvl1pPr>
          </a:lstStyle>
          <a:p>
            <a:r>
              <a:rPr lang="it-IT" dirty="0" err="1" smtClean="0"/>
              <a:t>This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title</a:t>
            </a:r>
            <a:endParaRPr lang="it-IT" dirty="0"/>
          </a:p>
        </p:txBody>
      </p:sp>
      <p:sp>
        <p:nvSpPr>
          <p:cNvPr id="11" name="Segnaposto immagine 10"/>
          <p:cNvSpPr>
            <a:spLocks noGrp="1"/>
          </p:cNvSpPr>
          <p:nvPr>
            <p:ph type="pic" sz="quarter" idx="10"/>
          </p:nvPr>
        </p:nvSpPr>
        <p:spPr>
          <a:xfrm>
            <a:off x="1424" y="3"/>
            <a:ext cx="9144000" cy="5237677"/>
          </a:xfrm>
          <a:ln>
            <a:noFill/>
          </a:ln>
        </p:spPr>
        <p:txBody>
          <a:bodyPr anchor="ctr" anchorCtr="1"/>
          <a:lstStyle/>
          <a:p>
            <a:r>
              <a:rPr lang="en-US" smtClean="0"/>
              <a:t>Click icon to add pictur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62287043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39496" y="1588553"/>
            <a:ext cx="7671521" cy="1161911"/>
          </a:xfrm>
        </p:spPr>
        <p:txBody>
          <a:bodyPr anchor="b"/>
          <a:lstStyle>
            <a:lvl1pPr>
              <a:defRPr sz="2300"/>
            </a:lvl1pPr>
          </a:lstStyle>
          <a:p>
            <a:pPr lvl="0"/>
            <a:r>
              <a:rPr lang="en-GB" altLang="ru-RU" noProof="0" smtClean="0"/>
              <a:t>Fare clic per modificare sti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39496" y="2886623"/>
            <a:ext cx="7671521" cy="580956"/>
          </a:xfrm>
        </p:spPr>
        <p:txBody>
          <a:bodyPr anchor="b"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en-GB" altLang="ru-RU" noProof="0" smtClean="0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8272055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58EB62-E185-4B7C-833B-1DF08223F8D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886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7E4BE7-2B14-4B9D-9F3C-E65EEC76EDD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6481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62592E-F9F3-4BC7-9991-4CD4D8779ED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8080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F8234-D8C4-4874-95FF-59BE8B675B1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844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0FE2BD-4925-49DC-9B22-9E23FA229C9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0213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CB76D2-502C-4D79-AACB-65964A6A58A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3111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244C13-F5DB-49F7-855E-2CED9DA01FB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063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hf hdr="0" ftr="0" dt="0"/>
  <p:txStyles>
    <p:titleStyle>
      <a:lvl1pPr algn="ctr" defTabSz="914400" rtl="0" latinLnBrk="0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latinLnBrk="0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latinLnBrk="0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latinLnBrk="0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latinLnBrk="0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latinLnBrk="0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33138B-8A55-4635-85A2-A7A999D3B1A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25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446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3028" y="1"/>
            <a:ext cx="8477949" cy="1033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it-IT" dirty="0" smtClean="0"/>
              <a:t>This is a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3028" y="1199737"/>
            <a:ext cx="8477949" cy="4801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it-IT" dirty="0" smtClean="0"/>
              <a:t>Fare </a:t>
            </a:r>
            <a:r>
              <a:rPr lang="en-GB" altLang="it-IT" dirty="0" err="1" smtClean="0"/>
              <a:t>clic</a:t>
            </a:r>
            <a:r>
              <a:rPr lang="en-GB" altLang="it-IT" dirty="0" smtClean="0"/>
              <a:t> per </a:t>
            </a:r>
            <a:r>
              <a:rPr lang="en-GB" altLang="it-IT" dirty="0" err="1" smtClean="0"/>
              <a:t>modificare</a:t>
            </a:r>
            <a:r>
              <a:rPr lang="en-GB" altLang="it-IT" dirty="0" smtClean="0"/>
              <a:t> </a:t>
            </a:r>
            <a:r>
              <a:rPr lang="en-GB" altLang="it-IT" dirty="0" err="1" smtClean="0"/>
              <a:t>gli</a:t>
            </a:r>
            <a:r>
              <a:rPr lang="en-GB" altLang="it-IT" dirty="0" smtClean="0"/>
              <a:t> </a:t>
            </a:r>
            <a:r>
              <a:rPr lang="en-GB" altLang="it-IT" dirty="0" err="1" smtClean="0"/>
              <a:t>stili</a:t>
            </a:r>
            <a:r>
              <a:rPr lang="en-GB" altLang="it-IT" dirty="0" smtClean="0"/>
              <a:t> del </a:t>
            </a:r>
            <a:r>
              <a:rPr lang="en-GB" altLang="it-IT" dirty="0" err="1" smtClean="0"/>
              <a:t>testo</a:t>
            </a:r>
            <a:r>
              <a:rPr lang="en-GB" altLang="it-IT" dirty="0" smtClean="0"/>
              <a:t> </a:t>
            </a:r>
            <a:r>
              <a:rPr lang="en-GB" altLang="it-IT" dirty="0" err="1" smtClean="0"/>
              <a:t>dello</a:t>
            </a:r>
            <a:r>
              <a:rPr lang="en-GB" altLang="it-IT" dirty="0" smtClean="0"/>
              <a:t> schema</a:t>
            </a:r>
          </a:p>
          <a:p>
            <a:pPr lvl="1"/>
            <a:r>
              <a:rPr lang="en-GB" altLang="it-IT" dirty="0" smtClean="0"/>
              <a:t>Secondo </a:t>
            </a:r>
            <a:r>
              <a:rPr lang="en-GB" altLang="it-IT" dirty="0" err="1" smtClean="0"/>
              <a:t>livello</a:t>
            </a:r>
            <a:endParaRPr lang="en-GB" altLang="it-IT" dirty="0" smtClean="0"/>
          </a:p>
          <a:p>
            <a:pPr lvl="2"/>
            <a:r>
              <a:rPr lang="en-GB" altLang="it-IT" dirty="0" err="1" smtClean="0"/>
              <a:t>Terzo</a:t>
            </a:r>
            <a:r>
              <a:rPr lang="en-GB" altLang="it-IT" dirty="0" smtClean="0"/>
              <a:t> </a:t>
            </a:r>
            <a:r>
              <a:rPr lang="en-GB" altLang="it-IT" dirty="0" err="1" smtClean="0"/>
              <a:t>livello</a:t>
            </a:r>
            <a:endParaRPr lang="en-GB" altLang="it-IT" dirty="0" smtClean="0"/>
          </a:p>
          <a:p>
            <a:pPr lvl="3"/>
            <a:r>
              <a:rPr lang="en-GB" altLang="it-IT" dirty="0" smtClean="0"/>
              <a:t>Quarto </a:t>
            </a:r>
            <a:r>
              <a:rPr lang="en-GB" altLang="it-IT" dirty="0" err="1" smtClean="0"/>
              <a:t>livello</a:t>
            </a:r>
            <a:endParaRPr lang="en-GB" altLang="it-IT" dirty="0" smtClean="0"/>
          </a:p>
          <a:p>
            <a:pPr lvl="4"/>
            <a:r>
              <a:rPr lang="en-GB" altLang="it-IT" dirty="0" err="1" smtClean="0"/>
              <a:t>Quinto</a:t>
            </a:r>
            <a:r>
              <a:rPr lang="en-GB" altLang="it-IT" dirty="0" smtClean="0"/>
              <a:t> </a:t>
            </a:r>
            <a:r>
              <a:rPr lang="en-GB" altLang="it-IT" dirty="0" err="1" smtClean="0"/>
              <a:t>livello</a:t>
            </a:r>
            <a:endParaRPr lang="en-GB" altLang="it-IT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27054" y="6307305"/>
            <a:ext cx="497297" cy="335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b="1" smtClean="0">
                <a:solidFill>
                  <a:srgbClr val="00AFD0"/>
                </a:solidFill>
                <a:latin typeface="UniCredit" pitchFamily="50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21209B02-9294-44E2-9F7A-9563D600DC20}" type="slidenum">
              <a:rPr lang="en-US" altLang="ru-RU"/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ru-RU"/>
          </a:p>
        </p:txBody>
      </p:sp>
      <p:pic>
        <p:nvPicPr>
          <p:cNvPr id="1029" name="Immagine 6" descr="SOLO SFERA 10 m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1072" y="6284608"/>
            <a:ext cx="389773" cy="394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Line 9"/>
          <p:cNvSpPr>
            <a:spLocks noChangeShapeType="1"/>
          </p:cNvSpPr>
          <p:nvPr/>
        </p:nvSpPr>
        <p:spPr bwMode="auto">
          <a:xfrm>
            <a:off x="0" y="1033315"/>
            <a:ext cx="9144000" cy="0"/>
          </a:xfrm>
          <a:prstGeom prst="line">
            <a:avLst/>
          </a:prstGeom>
          <a:noFill/>
          <a:ln w="19050">
            <a:solidFill>
              <a:srgbClr val="00AFD0"/>
            </a:solidFill>
            <a:round/>
            <a:headEnd/>
            <a:tailEnd type="none" w="med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sz="1200">
              <a:solidFill>
                <a:srgbClr val="000000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04" y="1514"/>
          <a:ext cx="1493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4" y="1514"/>
                        <a:ext cx="1493" cy="15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45033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10355" rtl="0" eaLnBrk="1" fontAlgn="base" hangingPunct="1">
        <a:lnSpc>
          <a:spcPts val="1985"/>
        </a:lnSpc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UniCredit Medium"/>
          <a:ea typeface="+mj-ea"/>
          <a:cs typeface="+mj-cs"/>
        </a:defRPr>
      </a:lvl1pPr>
      <a:lvl2pPr algn="l" defTabSz="810355" rtl="0" eaLnBrk="1" fontAlgn="base" hangingPunct="1">
        <a:lnSpc>
          <a:spcPts val="1845"/>
        </a:lnSpc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UniCredit" charset="0"/>
          <a:ea typeface="ＭＳ Ｐゴシック" charset="0"/>
          <a:cs typeface="ＭＳ Ｐゴシック" charset="0"/>
        </a:defRPr>
      </a:lvl2pPr>
      <a:lvl3pPr algn="l" defTabSz="810355" rtl="0" eaLnBrk="1" fontAlgn="base" hangingPunct="1">
        <a:lnSpc>
          <a:spcPts val="1845"/>
        </a:lnSpc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UniCredit" charset="0"/>
          <a:ea typeface="ＭＳ Ｐゴシック" charset="0"/>
          <a:cs typeface="ＭＳ Ｐゴシック" charset="0"/>
        </a:defRPr>
      </a:lvl3pPr>
      <a:lvl4pPr algn="l" defTabSz="810355" rtl="0" eaLnBrk="1" fontAlgn="base" hangingPunct="1">
        <a:lnSpc>
          <a:spcPts val="1845"/>
        </a:lnSpc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UniCredit" charset="0"/>
          <a:ea typeface="ＭＳ Ｐゴシック" charset="0"/>
          <a:cs typeface="ＭＳ Ｐゴシック" charset="0"/>
        </a:defRPr>
      </a:lvl4pPr>
      <a:lvl5pPr algn="l" defTabSz="810355" rtl="0" eaLnBrk="1" fontAlgn="base" hangingPunct="1">
        <a:lnSpc>
          <a:spcPts val="1845"/>
        </a:lnSpc>
        <a:spcBef>
          <a:spcPct val="0"/>
        </a:spcBef>
        <a:spcAft>
          <a:spcPct val="0"/>
        </a:spcAft>
        <a:defRPr sz="1900">
          <a:solidFill>
            <a:schemeClr val="tx2"/>
          </a:solidFill>
          <a:latin typeface="UniCredit" charset="0"/>
          <a:ea typeface="ＭＳ Ｐゴシック" charset="0"/>
          <a:cs typeface="ＭＳ Ｐゴシック" charset="0"/>
        </a:defRPr>
      </a:lvl5pPr>
      <a:lvl6pPr marL="383222" algn="l" defTabSz="81035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6pPr>
      <a:lvl7pPr marL="766445" algn="l" defTabSz="81035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7pPr>
      <a:lvl8pPr marL="1149667" algn="l" defTabSz="81035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8pPr>
      <a:lvl9pPr marL="1532890" algn="l" defTabSz="810355" rtl="0" eaLnBrk="1" fontAlgn="base" hangingPunct="1">
        <a:spcBef>
          <a:spcPct val="0"/>
        </a:spcBef>
        <a:spcAft>
          <a:spcPct val="0"/>
        </a:spcAft>
        <a:defRPr sz="17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159675" indent="-159675" algn="l" defTabSz="810355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•"/>
        <a:defRPr sz="1000">
          <a:solidFill>
            <a:schemeClr val="tx1"/>
          </a:solidFill>
          <a:latin typeface="UniCredit"/>
          <a:ea typeface="+mn-ea"/>
          <a:cs typeface="+mn-cs"/>
        </a:defRPr>
      </a:lvl1pPr>
      <a:lvl2pPr marL="480359" indent="-161006" algn="l" defTabSz="810355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•"/>
        <a:defRPr sz="1000">
          <a:solidFill>
            <a:schemeClr val="tx1"/>
          </a:solidFill>
          <a:latin typeface="UniCredit"/>
          <a:ea typeface="+mn-ea"/>
          <a:cs typeface="+mn-cs"/>
        </a:defRPr>
      </a:lvl2pPr>
      <a:lvl3pPr marL="801041" indent="-161006" algn="l" defTabSz="810355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•"/>
        <a:defRPr sz="1000">
          <a:solidFill>
            <a:schemeClr val="tx1"/>
          </a:solidFill>
          <a:latin typeface="UniCredit"/>
          <a:ea typeface="+mn-ea"/>
          <a:cs typeface="+mn-cs"/>
        </a:defRPr>
      </a:lvl3pPr>
      <a:lvl4pPr marL="1116402" indent="-155685" algn="l" defTabSz="810355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•"/>
        <a:defRPr sz="1000">
          <a:solidFill>
            <a:schemeClr val="tx1"/>
          </a:solidFill>
          <a:latin typeface="UniCredit"/>
          <a:ea typeface="+mn-ea"/>
          <a:cs typeface="+mn-cs"/>
        </a:defRPr>
      </a:lvl4pPr>
      <a:lvl5pPr marL="1437083" indent="-161006" algn="l" defTabSz="810355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Font typeface="Arial" pitchFamily="34" charset="0"/>
        <a:buChar char="•"/>
        <a:defRPr sz="1000">
          <a:solidFill>
            <a:schemeClr val="tx1"/>
          </a:solidFill>
          <a:latin typeface="UniCredit"/>
          <a:ea typeface="+mn-ea"/>
          <a:cs typeface="+mn-cs"/>
        </a:defRPr>
      </a:lvl5pPr>
      <a:lvl6pPr marL="1820306" indent="-161006" algn="l" defTabSz="810355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charset="0"/>
        <a:buChar char="n"/>
        <a:defRPr sz="1000">
          <a:solidFill>
            <a:schemeClr val="tx1"/>
          </a:solidFill>
          <a:latin typeface="+mn-lt"/>
          <a:ea typeface="+mn-ea"/>
          <a:cs typeface="+mn-cs"/>
        </a:defRPr>
      </a:lvl6pPr>
      <a:lvl7pPr marL="2203528" indent="-161006" algn="l" defTabSz="810355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charset="0"/>
        <a:buChar char="n"/>
        <a:defRPr sz="1000">
          <a:solidFill>
            <a:schemeClr val="tx1"/>
          </a:solidFill>
          <a:latin typeface="+mn-lt"/>
          <a:ea typeface="+mn-ea"/>
          <a:cs typeface="+mn-cs"/>
        </a:defRPr>
      </a:lvl7pPr>
      <a:lvl8pPr marL="2586750" indent="-161006" algn="l" defTabSz="810355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charset="0"/>
        <a:buChar char="n"/>
        <a:defRPr sz="1000">
          <a:solidFill>
            <a:schemeClr val="tx1"/>
          </a:solidFill>
          <a:latin typeface="+mn-lt"/>
          <a:ea typeface="+mn-ea"/>
          <a:cs typeface="+mn-cs"/>
        </a:defRPr>
      </a:lvl8pPr>
      <a:lvl9pPr marL="2969973" indent="-161006" algn="l" defTabSz="810355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charset="0"/>
        <a:buChar char="n"/>
        <a:defRPr sz="1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38322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3222" algn="l" defTabSz="38322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6445" algn="l" defTabSz="38322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9667" algn="l" defTabSz="38322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32890" algn="l" defTabSz="38322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16112" algn="l" defTabSz="38322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99333" algn="l" defTabSz="38322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82556" algn="l" defTabSz="38322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65778" algn="l" defTabSz="38322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wmf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42910" y="2241998"/>
            <a:ext cx="7929618" cy="161563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ru-RU" sz="2400" b="1" dirty="0">
                <a:solidFill>
                  <a:schemeClr val="bg2">
                    <a:lumMod val="25000"/>
                  </a:schemeClr>
                </a:solidFill>
              </a:rPr>
              <a:t>«Банковская система России 2016: </a:t>
            </a:r>
            <a:br>
              <a:rPr lang="ru-RU" sz="2400" b="1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2400" b="1" dirty="0">
                <a:solidFill>
                  <a:schemeClr val="bg2">
                    <a:lumMod val="25000"/>
                  </a:schemeClr>
                </a:solidFill>
              </a:rPr>
              <a:t>практические вопросы надзора и регулирования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" y="5618165"/>
            <a:ext cx="9144000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Москва </a:t>
            </a:r>
          </a:p>
          <a:p>
            <a:pPr algn="ctr"/>
            <a:r>
              <a:rPr lang="ru-RU" sz="2000" b="1" dirty="0" smtClean="0"/>
              <a:t>25 марта </a:t>
            </a:r>
            <a:r>
              <a:rPr lang="ru-RU" b="1" dirty="0" smtClean="0"/>
              <a:t> 2016</a:t>
            </a:r>
          </a:p>
          <a:p>
            <a:pPr algn="ctr"/>
            <a:endParaRPr lang="ru-RU" dirty="0"/>
          </a:p>
        </p:txBody>
      </p:sp>
      <p:pic>
        <p:nvPicPr>
          <p:cNvPr id="7" name="Picture 9" descr="Asros_blu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28662" y="334953"/>
            <a:ext cx="1800225" cy="173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2"/>
          <p:cNvSpPr/>
          <p:nvPr/>
        </p:nvSpPr>
        <p:spPr>
          <a:xfrm>
            <a:off x="1643042" y="4274114"/>
            <a:ext cx="6120680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XVIII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Всероссийская банковская конференция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 rot="10800000" flipV="1">
            <a:off x="3275856" y="5657296"/>
            <a:ext cx="54006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b="1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*по состоянию на 25 марта 2016 г.</a:t>
            </a:r>
          </a:p>
          <a:p>
            <a:pPr algn="r"/>
            <a:r>
              <a:rPr lang="ru-RU" sz="1400" b="1" i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**экспертные оценки</a:t>
            </a:r>
            <a:endParaRPr lang="ru-RU" sz="1400" b="1" i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7" name="Диаграмма 6"/>
          <p:cNvGraphicFramePr/>
          <p:nvPr>
            <p:extLst/>
          </p:nvPr>
        </p:nvGraphicFramePr>
        <p:xfrm>
          <a:off x="539552" y="1052736"/>
          <a:ext cx="8280920" cy="54726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2114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ru-RU" sz="20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Количество отозванных банковских лицензий в Российской Федерации</a:t>
            </a:r>
            <a:endParaRPr lang="ru-RU" sz="20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4785395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96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Chart 28"/>
          <p:cNvGraphicFramePr>
            <a:graphicFrameLocks/>
          </p:cNvGraphicFramePr>
          <p:nvPr>
            <p:extLst/>
          </p:nvPr>
        </p:nvGraphicFramePr>
        <p:xfrm>
          <a:off x="483183" y="2158070"/>
          <a:ext cx="3759098" cy="3430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41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defTabSz="908397">
              <a:spcBef>
                <a:spcPct val="20000"/>
              </a:spcBef>
              <a:buClr>
                <a:srgbClr val="E2001A"/>
              </a:buClr>
              <a:buFont typeface="Wingdings" panose="05000000000000000000" pitchFamily="2" charset="2"/>
              <a:buChar char="n"/>
              <a:defRPr sz="11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01193" indent="-268766" defTabSz="908397">
              <a:spcBef>
                <a:spcPct val="20000"/>
              </a:spcBef>
              <a:buClr>
                <a:srgbClr val="E2001A"/>
              </a:buClr>
              <a:buFont typeface="Wingdings" panose="05000000000000000000" pitchFamily="2" charset="2"/>
              <a:buChar char="n"/>
              <a:defRPr sz="11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079567" indent="-214713" defTabSz="908397">
              <a:spcBef>
                <a:spcPct val="20000"/>
              </a:spcBef>
              <a:buClr>
                <a:srgbClr val="E2001A"/>
              </a:buClr>
              <a:buFont typeface="Wingdings" panose="05000000000000000000" pitchFamily="2" charset="2"/>
              <a:buChar char="n"/>
              <a:defRPr sz="11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510492" indent="-214713" defTabSz="908397">
              <a:spcBef>
                <a:spcPct val="20000"/>
              </a:spcBef>
              <a:buClr>
                <a:srgbClr val="E2001A"/>
              </a:buClr>
              <a:buFont typeface="Wingdings" panose="05000000000000000000" pitchFamily="2" charset="2"/>
              <a:buChar char="n"/>
              <a:defRPr sz="11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1942917" indent="-214713" defTabSz="908397">
              <a:spcBef>
                <a:spcPct val="20000"/>
              </a:spcBef>
              <a:buClr>
                <a:srgbClr val="E2001A"/>
              </a:buClr>
              <a:buFont typeface="Wingdings" panose="05000000000000000000" pitchFamily="2" charset="2"/>
              <a:buChar char="n"/>
              <a:defRPr sz="11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375345" indent="-214713" defTabSz="908397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anose="05000000000000000000" pitchFamily="2" charset="2"/>
              <a:buChar char="n"/>
              <a:defRPr sz="11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807772" indent="-214713" defTabSz="908397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anose="05000000000000000000" pitchFamily="2" charset="2"/>
              <a:buChar char="n"/>
              <a:defRPr sz="11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240199" indent="-214713" defTabSz="908397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anose="05000000000000000000" pitchFamily="2" charset="2"/>
              <a:buChar char="n"/>
              <a:defRPr sz="11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672626" indent="-214713" defTabSz="908397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anose="05000000000000000000" pitchFamily="2" charset="2"/>
              <a:buChar char="n"/>
              <a:defRPr sz="11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06F2AE3-D98D-4173-93FE-EC2AD766F9A1}" type="slidenum">
              <a:rPr lang="en-US" altLang="ru-RU" smtClean="0">
                <a:solidFill>
                  <a:srgbClr val="E2001A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11</a:t>
            </a:fld>
            <a:endParaRPr lang="en-US" altLang="ru-RU" dirty="0" smtClean="0">
              <a:solidFill>
                <a:srgbClr val="E2001A"/>
              </a:solidFill>
            </a:endParaRPr>
          </a:p>
        </p:txBody>
      </p:sp>
      <p:sp>
        <p:nvSpPr>
          <p:cNvPr id="17418" name="TextBox 18"/>
          <p:cNvSpPr txBox="1">
            <a:spLocks noChangeArrowheads="1"/>
          </p:cNvSpPr>
          <p:nvPr/>
        </p:nvSpPr>
        <p:spPr bwMode="auto">
          <a:xfrm>
            <a:off x="4510053" y="1832129"/>
            <a:ext cx="4295972" cy="35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486" tIns="43243" rIns="86486" bIns="43243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700" b="1" dirty="0">
                <a:solidFill>
                  <a:srgbClr val="000000"/>
                </a:solidFill>
                <a:latin typeface="UniCredit CY" panose="02000506040000020004" pitchFamily="2" charset="-52"/>
              </a:rPr>
              <a:t>По объему активов</a:t>
            </a:r>
            <a:endParaRPr lang="en-US" altLang="ru-RU" sz="1700" b="1" dirty="0">
              <a:solidFill>
                <a:srgbClr val="000000"/>
              </a:solidFill>
              <a:latin typeface="UniCredit CY" panose="02000506040000020004" pitchFamily="2" charset="-52"/>
            </a:endParaRPr>
          </a:p>
        </p:txBody>
      </p:sp>
      <p:sp>
        <p:nvSpPr>
          <p:cNvPr id="17417" name="TextBox 17"/>
          <p:cNvSpPr txBox="1">
            <a:spLocks noChangeArrowheads="1"/>
          </p:cNvSpPr>
          <p:nvPr/>
        </p:nvSpPr>
        <p:spPr bwMode="auto">
          <a:xfrm>
            <a:off x="483494" y="1832129"/>
            <a:ext cx="4294311" cy="35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486" tIns="43243" rIns="86486" bIns="43243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700" b="1" dirty="0">
                <a:solidFill>
                  <a:srgbClr val="000000"/>
                </a:solidFill>
                <a:latin typeface="UniCredit CY" panose="02000506040000020004" pitchFamily="2" charset="-52"/>
              </a:rPr>
              <a:t>По числу банков</a:t>
            </a:r>
            <a:endParaRPr lang="en-US" altLang="ru-RU" sz="1700" b="1" dirty="0">
              <a:solidFill>
                <a:srgbClr val="000000"/>
              </a:solidFill>
              <a:latin typeface="UniCredit CY" panose="02000506040000020004" pitchFamily="2" charset="-52"/>
            </a:endParaRPr>
          </a:p>
        </p:txBody>
      </p:sp>
      <p:grpSp>
        <p:nvGrpSpPr>
          <p:cNvPr id="36" name="Group 5"/>
          <p:cNvGrpSpPr>
            <a:grpSpLocks/>
          </p:cNvGrpSpPr>
          <p:nvPr/>
        </p:nvGrpSpPr>
        <p:grpSpPr bwMode="auto">
          <a:xfrm>
            <a:off x="483494" y="1046932"/>
            <a:ext cx="8152847" cy="684824"/>
            <a:chOff x="975859" y="1098566"/>
            <a:chExt cx="8666682" cy="718345"/>
          </a:xfrm>
        </p:grpSpPr>
        <p:sp>
          <p:nvSpPr>
            <p:cNvPr id="37" name="Rectangle 6"/>
            <p:cNvSpPr>
              <a:spLocks noChangeArrowheads="1"/>
            </p:cNvSpPr>
            <p:nvPr/>
          </p:nvSpPr>
          <p:spPr bwMode="auto">
            <a:xfrm>
              <a:off x="1163949" y="1098566"/>
              <a:ext cx="8266969" cy="5982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6573" tIns="48286" rIns="96573" bIns="48286"/>
            <a:lstStyle>
              <a:lvl1pPr defTabSz="965200"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965200"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965200"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965200"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965200"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9652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9652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9652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9652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altLang="ru-RU" sz="2600">
                <a:solidFill>
                  <a:srgbClr val="000000"/>
                </a:solidFill>
              </a:endParaRPr>
            </a:p>
          </p:txBody>
        </p:sp>
        <p:sp>
          <p:nvSpPr>
            <p:cNvPr id="38" name="TextBox 10"/>
            <p:cNvSpPr txBox="1">
              <a:spLocks noChangeArrowheads="1"/>
            </p:cNvSpPr>
            <p:nvPr/>
          </p:nvSpPr>
          <p:spPr bwMode="auto">
            <a:xfrm>
              <a:off x="975859" y="1133508"/>
              <a:ext cx="8666682" cy="6834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6573" tIns="48286" rIns="96573" bIns="48286">
              <a:spAutoFit/>
            </a:bodyPr>
            <a:lstStyle>
              <a:lvl1pPr marL="301625" indent="-301625" defTabSz="963613"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963613"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963613"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963613"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963613"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96361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96361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96361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96361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marL="0" indent="0" algn="ctr" fontAlgn="base">
                <a:spcBef>
                  <a:spcPct val="0"/>
                </a:spcBef>
                <a:spcAft>
                  <a:spcPct val="0"/>
                </a:spcAft>
                <a:buClr>
                  <a:srgbClr val="0070C0"/>
                </a:buClr>
              </a:pPr>
              <a:r>
                <a:rPr lang="ru-RU" altLang="ru-RU" sz="1800" b="1" dirty="0">
                  <a:solidFill>
                    <a:srgbClr val="000000"/>
                  </a:solidFill>
                  <a:latin typeface="Arial"/>
                </a:rPr>
                <a:t>Хотя доля банков, у которых отняли лицензию за отмывание в  </a:t>
              </a:r>
              <a:r>
                <a:rPr lang="ru-RU" altLang="ru-RU" sz="1800" b="1" dirty="0" smtClean="0">
                  <a:solidFill>
                    <a:srgbClr val="000000"/>
                  </a:solidFill>
                  <a:latin typeface="Arial"/>
                </a:rPr>
                <a:t>2013-2015  </a:t>
              </a:r>
              <a:r>
                <a:rPr lang="ru-RU" altLang="ru-RU" sz="1800" b="1" dirty="0">
                  <a:solidFill>
                    <a:srgbClr val="000000"/>
                  </a:solidFill>
                  <a:latin typeface="Arial"/>
                </a:rPr>
                <a:t>около трети, в сумме активов их роль – только четверть</a:t>
              </a:r>
              <a:endParaRPr lang="en-US" altLang="ru-RU" sz="1800" b="1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42" name="Title 1"/>
          <p:cNvSpPr txBox="1">
            <a:spLocks/>
          </p:cNvSpPr>
          <p:nvPr/>
        </p:nvSpPr>
        <p:spPr bwMode="auto">
          <a:xfrm>
            <a:off x="483495" y="116632"/>
            <a:ext cx="8152846" cy="803216"/>
          </a:xfrm>
          <a:prstGeom prst="rect">
            <a:avLst/>
          </a:prstGeom>
          <a:solidFill>
            <a:srgbClr val="CCFFFF"/>
          </a:solidFill>
          <a:ln>
            <a:noFill/>
          </a:ln>
          <a:extLst/>
        </p:spPr>
        <p:txBody>
          <a:bodyPr lIns="0" tIns="0" rIns="0" bIns="0" anchor="ctr"/>
          <a:lstStyle>
            <a:lvl1pPr defTabSz="958850">
              <a:spcBef>
                <a:spcPct val="20000"/>
              </a:spcBef>
              <a:buClr>
                <a:srgbClr val="E2001A"/>
              </a:buClr>
              <a:buFont typeface="Wingdings" panose="05000000000000000000" pitchFamily="2" charset="2"/>
              <a:buChar char="n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573088" indent="-192088" defTabSz="958850">
              <a:spcBef>
                <a:spcPct val="20000"/>
              </a:spcBef>
              <a:buClr>
                <a:srgbClr val="E2001A"/>
              </a:buClr>
              <a:buFont typeface="Wingdings" panose="05000000000000000000" pitchFamily="2" charset="2"/>
              <a:buChar char="n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955675" indent="-192088" defTabSz="958850">
              <a:spcBef>
                <a:spcPct val="20000"/>
              </a:spcBef>
              <a:buClr>
                <a:srgbClr val="E2001A"/>
              </a:buClr>
              <a:buFont typeface="Wingdings" panose="05000000000000000000" pitchFamily="2" charset="2"/>
              <a:buChar char="n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331913" indent="-185738" defTabSz="958850">
              <a:spcBef>
                <a:spcPct val="20000"/>
              </a:spcBef>
              <a:buClr>
                <a:srgbClr val="E2001A"/>
              </a:buClr>
              <a:buFont typeface="Wingdings" panose="05000000000000000000" pitchFamily="2" charset="2"/>
              <a:buChar char="n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1714500" indent="-192088" defTabSz="958850">
              <a:spcBef>
                <a:spcPct val="20000"/>
              </a:spcBef>
              <a:buClr>
                <a:srgbClr val="E2001A"/>
              </a:buClr>
              <a:buFont typeface="Wingdings" panose="05000000000000000000" pitchFamily="2" charset="2"/>
              <a:buChar char="n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171700" indent="-192088" defTabSz="9588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anose="05000000000000000000" pitchFamily="2" charset="2"/>
              <a:buChar char="n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628900" indent="-192088" defTabSz="9588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anose="05000000000000000000" pitchFamily="2" charset="2"/>
              <a:buChar char="n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086100" indent="-192088" defTabSz="9588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anose="05000000000000000000" pitchFamily="2" charset="2"/>
              <a:buChar char="n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543300" indent="-192088" defTabSz="9588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anose="05000000000000000000" pitchFamily="2" charset="2"/>
              <a:buChar char="n"/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ru-RU" sz="2400" b="1" dirty="0">
                <a:solidFill>
                  <a:srgbClr val="000000"/>
                </a:solidFill>
                <a:latin typeface="Arial"/>
              </a:rPr>
              <a:t>Банковская </a:t>
            </a:r>
            <a:r>
              <a:rPr lang="ru-RU" altLang="ru-RU" sz="2400" b="1" dirty="0" smtClean="0">
                <a:solidFill>
                  <a:srgbClr val="000000"/>
                </a:solidFill>
                <a:latin typeface="Arial"/>
              </a:rPr>
              <a:t>система:</a:t>
            </a:r>
            <a:endParaRPr lang="en-US" altLang="ru-RU" sz="2400" b="1" dirty="0">
              <a:solidFill>
                <a:srgbClr val="000000"/>
              </a:solidFill>
              <a:latin typeface="Arial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altLang="ru-RU" sz="2400" b="1" i="1" dirty="0">
                <a:solidFill>
                  <a:srgbClr val="000000"/>
                </a:solidFill>
                <a:latin typeface="Arial"/>
              </a:rPr>
              <a:t>результаты отзывов лицензий</a:t>
            </a:r>
          </a:p>
        </p:txBody>
      </p:sp>
      <p:graphicFrame>
        <p:nvGraphicFramePr>
          <p:cNvPr id="30" name="Chart 29"/>
          <p:cNvGraphicFramePr>
            <a:graphicFrameLocks/>
          </p:cNvGraphicFramePr>
          <p:nvPr>
            <p:extLst/>
          </p:nvPr>
        </p:nvGraphicFramePr>
        <p:xfrm>
          <a:off x="4632900" y="2184107"/>
          <a:ext cx="4050277" cy="3595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600341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  <a:solidFill>
            <a:srgbClr val="CCFFFF"/>
          </a:solidFill>
        </p:spPr>
        <p:txBody>
          <a:bodyPr>
            <a:noAutofit/>
          </a:bodyPr>
          <a:lstStyle/>
          <a:p>
            <a:r>
              <a:rPr lang="ru-RU" sz="2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400" b="1" i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Банки с государственным участием в странах Центральной и Восточной Европы</a:t>
            </a:r>
            <a:br>
              <a:rPr lang="ru-RU" sz="2400" b="1" i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4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485740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5" y="1340768"/>
            <a:ext cx="8136904" cy="496855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Кольцо 5"/>
          <p:cNvSpPr/>
          <p:nvPr/>
        </p:nvSpPr>
        <p:spPr>
          <a:xfrm>
            <a:off x="4644008" y="2204864"/>
            <a:ext cx="1296144" cy="1080120"/>
          </a:xfrm>
          <a:prstGeom prst="donut">
            <a:avLst>
              <a:gd name="adj" fmla="val 2693"/>
            </a:avLst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190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7"/>
          <p:cNvSpPr>
            <a:spLocks noGrp="1"/>
          </p:cNvSpPr>
          <p:nvPr>
            <p:ph sz="half" idx="1"/>
          </p:nvPr>
        </p:nvSpPr>
        <p:spPr>
          <a:xfrm>
            <a:off x="457200" y="476672"/>
            <a:ext cx="4038600" cy="564949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0" indent="0" algn="just">
              <a:lnSpc>
                <a:spcPct val="135000"/>
              </a:lnSpc>
              <a:buNone/>
            </a:pPr>
            <a:endParaRPr lang="ru-RU" sz="1800" b="1" dirty="0" smtClean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0" indent="0" algn="just">
              <a:lnSpc>
                <a:spcPct val="135000"/>
              </a:lnSpc>
              <a:buNone/>
            </a:pPr>
            <a:r>
              <a:rPr lang="ru-RU" sz="18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В </a:t>
            </a:r>
            <a:r>
              <a:rPr lang="ru-RU" sz="1800" b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декабре 2015 г. Банк России в соответствии положениями статьи 45.3 Федерального закона «О Центральном банке Российской Федерации (Банке России)» представил на обсуждение проект «Основных направлений развития и обеспечения стабильности функционирования финансового рынка Российской Федерации на период 2016–2018 годов»</a:t>
            </a:r>
            <a:endParaRPr lang="ru-RU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Объект 9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092954318"/>
              </p:ext>
            </p:extLst>
          </p:nvPr>
        </p:nvGraphicFramePr>
        <p:xfrm>
          <a:off x="4643438" y="500042"/>
          <a:ext cx="3785644" cy="5572164"/>
        </p:xfrm>
        <a:graphic>
          <a:graphicData uri="http://schemas.openxmlformats.org/drawingml/2006/table">
            <a:tbl>
              <a:tblPr firstRow="1" firstCol="1" bandRow="1"/>
              <a:tblGrid>
                <a:gridCol w="3785644"/>
              </a:tblGrid>
              <a:tr h="557216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b="1" i="1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татья 45.3 «Банк России один раз в три года представляет в Государственную Думу проект основных направлений развития финансового рынка Российской Федерации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b="1" i="1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Предварительно проект основных направлений развития финансового рынка Российской Федерации представляется Банком России Президенту Российской Федерации и в Правительство Российской </a:t>
                      </a:r>
                      <a:r>
                        <a:rPr lang="ru-RU" sz="1600" b="1" i="1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Федерации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b="1" i="1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осударственная </a:t>
                      </a:r>
                      <a:r>
                        <a:rPr lang="ru-RU" sz="1600" b="1" i="1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Дума рассматривает проект основных направлений развития финансового рынка Российской Федерации на парламентских слушаниях и направляет в Банк России соответствующие рекомендации</a:t>
                      </a:r>
                      <a:r>
                        <a:rPr lang="ru-RU" sz="1100" dirty="0">
                          <a:effectLst/>
                          <a:latin typeface="Times New Roman"/>
                          <a:ea typeface="Times New Roman"/>
                        </a:rPr>
                        <a:t>»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5852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94122"/>
          </a:xfrm>
          <a:solidFill>
            <a:schemeClr val="bg1">
              <a:lumMod val="95000"/>
            </a:schemeClr>
          </a:solidFill>
        </p:spPr>
        <p:txBody>
          <a:bodyPr>
            <a:normAutofit fontScale="90000"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b="1" i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/>
            </a:r>
            <a:br>
              <a:rPr lang="ru-RU" sz="2000" b="1" i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r>
              <a:rPr lang="ru-RU" sz="2000" b="1" i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Матрица </a:t>
            </a:r>
            <a:r>
              <a:rPr lang="ru-RU" sz="2000" b="1" i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взаимосвязи целей и основных </a:t>
            </a:r>
            <a:r>
              <a:rPr lang="ru-RU" sz="2000" b="1" i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направлений</a:t>
            </a:r>
            <a:br>
              <a:rPr lang="ru-RU" sz="2000" b="1" i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r>
              <a:rPr lang="ru-RU" sz="2000" b="1" i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развития финансового </a:t>
            </a:r>
            <a:r>
              <a:rPr lang="ru-RU" sz="2000" b="1" i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рынка Российской </a:t>
            </a:r>
            <a:r>
              <a:rPr lang="ru-RU" sz="2000" b="1" i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Федерации</a:t>
            </a:r>
            <a:br>
              <a:rPr lang="ru-RU" sz="2000" b="1" i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r>
              <a:rPr lang="ru-RU" sz="2000" b="1" i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на </a:t>
            </a:r>
            <a:r>
              <a:rPr lang="ru-RU" sz="2000" b="1" i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ериод 2016–2018 годов</a:t>
            </a:r>
            <a:br>
              <a:rPr lang="ru-RU" sz="2000" b="1" i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Рисунок 7"/>
          <p:cNvPicPr/>
          <p:nvPr/>
        </p:nvPicPr>
        <p:blipFill>
          <a:blip r:embed="rId2" cstate="print"/>
          <a:srcRect r="27909" b="5950"/>
          <a:stretch>
            <a:fillRect/>
          </a:stretch>
        </p:blipFill>
        <p:spPr bwMode="auto">
          <a:xfrm>
            <a:off x="714348" y="1357298"/>
            <a:ext cx="7786742" cy="5143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191680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94122"/>
          </a:xfrm>
          <a:solidFill>
            <a:srgbClr val="CCFFFF"/>
          </a:solidFill>
        </p:spPr>
        <p:txBody>
          <a:bodyPr>
            <a:normAutofit/>
          </a:bodyPr>
          <a:lstStyle/>
          <a:p>
            <a:r>
              <a:rPr lang="ru-RU" sz="2000" b="1" i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Узловые </a:t>
            </a:r>
            <a:r>
              <a:rPr lang="ru-RU" sz="2000" b="1" i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вопросы </a:t>
            </a:r>
            <a:r>
              <a:rPr lang="ru-RU" sz="2000" b="1" i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текущего надзора </a:t>
            </a:r>
            <a:r>
              <a:rPr lang="ru-RU" sz="2000" b="1" i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и регулирования</a:t>
            </a:r>
            <a:br>
              <a:rPr lang="ru-RU" sz="2000" b="1" i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r>
              <a:rPr lang="ru-RU" sz="2000" b="1" i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банковской деятельности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484784"/>
            <a:ext cx="8229600" cy="4641379"/>
          </a:xfrm>
          <a:solidFill>
            <a:schemeClr val="bg1">
              <a:lumMod val="95000"/>
            </a:schemeClr>
          </a:solidFill>
          <a:ln w="28575">
            <a:solidFill>
              <a:schemeClr val="tx2">
                <a:lumMod val="40000"/>
                <a:lumOff val="60000"/>
              </a:schemeClr>
            </a:solidFill>
          </a:ln>
        </p:spPr>
        <p:txBody>
          <a:bodyPr>
            <a:no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800" b="1" dirty="0" smtClean="0">
                <a:solidFill>
                  <a:srgbClr val="C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ринятие системы неотложных мер по оздоровлению конкурентной среды в сфере финансового посредничества</a:t>
            </a:r>
            <a:endParaRPr lang="ru-RU" sz="1800" b="1" dirty="0" smtClean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Clr>
                <a:srgbClr val="C0000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8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оздание </a:t>
            </a:r>
            <a:r>
              <a:rPr lang="ru-RU" sz="1800" b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условий для применения в полном объеме профессионального суждения в надзорной </a:t>
            </a:r>
            <a:r>
              <a:rPr lang="ru-RU" sz="18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рактике</a:t>
            </a:r>
          </a:p>
          <a:p>
            <a:pPr>
              <a:lnSpc>
                <a:spcPct val="150000"/>
              </a:lnSpc>
              <a:buClr>
                <a:srgbClr val="C0000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8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Оптимизация  регуляторной нагрузки </a:t>
            </a:r>
          </a:p>
          <a:p>
            <a:pPr>
              <a:lnSpc>
                <a:spcPct val="150000"/>
              </a:lnSpc>
              <a:buClr>
                <a:srgbClr val="C0000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8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Более полная реализация принципа  пропорционального регулирования</a:t>
            </a:r>
          </a:p>
          <a:p>
            <a:pPr>
              <a:lnSpc>
                <a:spcPct val="150000"/>
              </a:lnSpc>
              <a:buClr>
                <a:srgbClr val="C0000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8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овышение прозрачности процедур санирования и отзыва лицензий</a:t>
            </a:r>
          </a:p>
          <a:p>
            <a:pPr>
              <a:lnSpc>
                <a:spcPct val="150000"/>
              </a:lnSpc>
              <a:buClr>
                <a:srgbClr val="C0000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8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lang="ru-RU" sz="1800" b="1" dirty="0" smtClean="0">
                <a:solidFill>
                  <a:srgbClr val="C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Развитие диалога регулятора с банковским сообщество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669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  <a:solidFill>
            <a:schemeClr val="bg1">
              <a:lumMod val="95000"/>
            </a:schemeClr>
          </a:solidFill>
        </p:spPr>
        <p:txBody>
          <a:bodyPr>
            <a:normAutofit fontScale="90000"/>
          </a:bodyPr>
          <a:lstStyle/>
          <a:p>
            <a:pPr marL="342900" lvl="0" indent="-342900">
              <a:lnSpc>
                <a:spcPct val="135000"/>
              </a:lnSpc>
              <a:spcBef>
                <a:spcPts val="400"/>
              </a:spcBef>
              <a:spcAft>
                <a:spcPts val="400"/>
              </a:spcAft>
            </a:pPr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/>
            </a:r>
            <a:b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/>
            </a:r>
            <a:b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r>
              <a:rPr lang="ru-RU" sz="2200" b="1" i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рименение </a:t>
            </a:r>
            <a:r>
              <a:rPr lang="ru-RU" sz="22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в полном объеме профессионального суждения в надзорной </a:t>
            </a:r>
            <a:r>
              <a:rPr lang="ru-RU" sz="2200" b="1" i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рактике</a:t>
            </a:r>
            <a:r>
              <a:rPr lang="ru-RU" sz="22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/>
            </a:r>
            <a:br>
              <a:rPr lang="ru-RU" sz="22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r>
              <a:rPr lang="ru-RU" sz="22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/>
            </a:r>
            <a:br>
              <a:rPr lang="ru-RU" sz="22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endParaRPr lang="ru-RU" sz="2200" i="1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052736"/>
            <a:ext cx="8291264" cy="5184575"/>
          </a:xfrm>
        </p:spPr>
        <p:txBody>
          <a:bodyPr>
            <a:normAutofit/>
          </a:bodyPr>
          <a:lstStyle/>
          <a:p>
            <a:pPr marL="0" indent="0" algn="just">
              <a:lnSpc>
                <a:spcPct val="17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ru-RU" sz="23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lang="ru-RU" sz="1800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рофессиональное </a:t>
            </a:r>
            <a:r>
              <a:rPr lang="ru-RU" sz="1800" b="1" dirty="0">
                <a:solidFill>
                  <a:srgbClr val="00206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уждение – это не монолог регулятора, а составная часть диалога с кредитными организациями, который базируется </a:t>
            </a:r>
            <a:r>
              <a:rPr lang="ru-RU" sz="2000" b="1" i="1" dirty="0">
                <a:solidFill>
                  <a:srgbClr val="FF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не на произвольно меняемых правилах, а на принципах</a:t>
            </a:r>
            <a:r>
              <a:rPr lang="ru-RU" sz="1800" b="1" dirty="0">
                <a:solidFill>
                  <a:srgbClr val="00206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. Возможно, что эти принципы следует закрепить в нормативно-правовых актах, хотя не менее важным является то, чтобы они стали ключевыми элементами надзорной культуры.</a:t>
            </a:r>
          </a:p>
          <a:p>
            <a:pPr>
              <a:lnSpc>
                <a:spcPct val="170000"/>
              </a:lnSpc>
            </a:pPr>
            <a:endParaRPr lang="ru-RU" sz="1800" b="1" dirty="0" smtClean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half" idx="2"/>
          </p:nvPr>
        </p:nvSpPr>
        <p:spPr>
          <a:xfrm>
            <a:off x="971600" y="4293096"/>
            <a:ext cx="6984776" cy="2160240"/>
          </a:xfrm>
          <a:ln w="28575">
            <a:solidFill>
              <a:srgbClr val="FF0000"/>
            </a:solidFill>
          </a:ln>
        </p:spPr>
        <p:txBody>
          <a:bodyPr>
            <a:noAutofit/>
          </a:bodyPr>
          <a:lstStyle/>
          <a:p>
            <a:pPr marL="0" indent="0" algn="just">
              <a:lnSpc>
                <a:spcPct val="150000"/>
              </a:lnSpc>
              <a:buNone/>
            </a:pPr>
            <a:r>
              <a:rPr lang="ru-RU" sz="1800" b="1" i="1" dirty="0" smtClean="0">
                <a:solidFill>
                  <a:srgbClr val="C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В частности, важной </a:t>
            </a:r>
            <a:r>
              <a:rPr lang="ru-RU" sz="1800" b="1" i="1" dirty="0">
                <a:solidFill>
                  <a:srgbClr val="C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оставляющей мотивированного суждения служит прозрачность и обоснованность критериев оценок «справедливой стоимости» залогового </a:t>
            </a:r>
            <a:r>
              <a:rPr lang="ru-RU" sz="1800" b="1" i="1" dirty="0" smtClean="0">
                <a:solidFill>
                  <a:srgbClr val="C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имущества, активов </a:t>
            </a:r>
            <a:r>
              <a:rPr lang="ru-RU" sz="1800" b="1" i="1" dirty="0">
                <a:solidFill>
                  <a:srgbClr val="C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и финансовых </a:t>
            </a:r>
            <a:r>
              <a:rPr lang="ru-RU" sz="1800" b="1" i="1" dirty="0" smtClean="0">
                <a:solidFill>
                  <a:srgbClr val="C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инструментов.</a:t>
            </a:r>
            <a:endParaRPr lang="ru-RU" sz="1800" b="1" i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43162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  <a:solidFill>
            <a:schemeClr val="bg1">
              <a:lumMod val="95000"/>
            </a:schemeClr>
          </a:solidFill>
        </p:spPr>
        <p:txBody>
          <a:bodyPr>
            <a:normAutofit fontScale="90000"/>
          </a:bodyPr>
          <a:lstStyle/>
          <a:p>
            <a:pPr marL="342900" lvl="0" indent="-342900">
              <a:spcBef>
                <a:spcPct val="20000"/>
              </a:spcBef>
            </a:pPr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/>
            </a:r>
            <a:b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/>
            </a:r>
            <a:b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r>
              <a:rPr lang="ru-RU" sz="2200" b="1" i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Оптимизация  </a:t>
            </a:r>
            <a:r>
              <a:rPr lang="ru-RU" sz="22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регуляторной </a:t>
            </a:r>
            <a:r>
              <a:rPr lang="ru-RU" sz="2200" b="1" i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нагрузки и реализация </a:t>
            </a:r>
            <a:r>
              <a:rPr lang="ru-RU" sz="22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ринципа  пропорционального регулирования</a:t>
            </a:r>
            <a:br>
              <a:rPr lang="ru-RU" sz="22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r>
              <a:rPr lang="ru-RU" sz="2700" b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 </a:t>
            </a:r>
            <a:r>
              <a:rPr lang="ru-RU" sz="2700" b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/>
            </a:r>
            <a:br>
              <a:rPr lang="ru-RU" sz="2700" b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endParaRPr lang="ru-RU" sz="27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1268760"/>
            <a:ext cx="8229600" cy="4958011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endParaRPr lang="ru-RU" sz="2000" b="1" dirty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algn="just">
              <a:lnSpc>
                <a:spcPct val="135000"/>
              </a:lnSpc>
              <a:spcBef>
                <a:spcPts val="400"/>
              </a:spcBef>
              <a:spcAft>
                <a:spcPts val="40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ru-RU" sz="20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Назрела потребность в ревизии </a:t>
            </a:r>
            <a:r>
              <a:rPr lang="ru-RU" sz="2000" b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и </a:t>
            </a:r>
            <a:r>
              <a:rPr lang="ru-RU" sz="20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упорядочивании </a:t>
            </a:r>
            <a:r>
              <a:rPr lang="ru-RU" sz="2000" b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нормативно-правовой базы банковского надзора и </a:t>
            </a:r>
            <a:r>
              <a:rPr lang="ru-RU" sz="20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регулирования  </a:t>
            </a:r>
            <a:r>
              <a:rPr lang="ru-RU" sz="2000" b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 учетом имеющихся разъяснений Банка России на запросы </a:t>
            </a:r>
            <a:r>
              <a:rPr lang="ru-RU" sz="20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банков.</a:t>
            </a:r>
          </a:p>
          <a:p>
            <a:pPr marL="0" indent="0" algn="just">
              <a:buNone/>
            </a:pPr>
            <a:r>
              <a:rPr lang="ru-RU" sz="20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lang="ru-RU" sz="2000" b="1" i="1" dirty="0">
                <a:solidFill>
                  <a:srgbClr val="C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В частности, на сегодняшний день существует не менее 500 разъяснений различных структурных подразделений Банка России в части требований Положения №254-П, зачастую противоречащих друг другу.</a:t>
            </a:r>
          </a:p>
          <a:p>
            <a:pPr marL="0" indent="0" algn="just">
              <a:buNone/>
            </a:pPr>
            <a:r>
              <a:rPr lang="ru-RU" sz="20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endParaRPr lang="ru-RU" sz="2000" b="1" dirty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algn="just">
              <a:lnSpc>
                <a:spcPct val="135000"/>
              </a:lnSpc>
              <a:spcBef>
                <a:spcPts val="400"/>
              </a:spcBef>
              <a:spcAft>
                <a:spcPts val="40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ru-RU" sz="20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В изучении нуждается вопрос о более полном применении принципа пропорционального регулирования.</a:t>
            </a:r>
          </a:p>
          <a:p>
            <a:pPr marL="0" indent="0" algn="just">
              <a:buNone/>
            </a:pPr>
            <a:endParaRPr lang="ru-RU" sz="2000" b="1" i="1" dirty="0">
              <a:solidFill>
                <a:srgbClr val="C0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9053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0034" y="274638"/>
            <a:ext cx="8186766" cy="72547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marL="342900" lvl="0" indent="-342900">
              <a:spcBef>
                <a:spcPct val="20000"/>
              </a:spcBef>
            </a:pPr>
            <a:r>
              <a:rPr lang="ru-RU" sz="2000" b="1" i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Развитие </a:t>
            </a:r>
            <a:r>
              <a:rPr lang="ru-RU" sz="20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диалога регулятора с банковским </a:t>
            </a:r>
            <a:r>
              <a:rPr lang="ru-RU" sz="2000" b="1" i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ообществом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340768"/>
            <a:ext cx="8229600" cy="4785395"/>
          </a:xfrm>
        </p:spPr>
        <p:txBody>
          <a:bodyPr>
            <a:normAutofit lnSpcReduction="10000"/>
          </a:bodyPr>
          <a:lstStyle/>
          <a:p>
            <a:pPr algn="just">
              <a:lnSpc>
                <a:spcPct val="135000"/>
              </a:lnSpc>
              <a:spcBef>
                <a:spcPts val="400"/>
              </a:spcBef>
              <a:spcAft>
                <a:spcPts val="400"/>
              </a:spcAft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ru-RU" sz="2100" b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Только в рамках диалога между Банком России и профессиональным сообществом </a:t>
            </a:r>
            <a:r>
              <a:rPr lang="ru-RU" sz="2100" b="1" dirty="0" smtClean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lang="ru-RU" sz="2100" b="1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открывается возможность для принятия неотложных мер оперативного характера, а через это добиваться укрепления взаимного доверия. </a:t>
            </a:r>
          </a:p>
          <a:p>
            <a:pPr algn="just">
              <a:buClr>
                <a:srgbClr val="FF0000"/>
              </a:buClr>
              <a:buFont typeface="Wingdings" panose="05000000000000000000" pitchFamily="2" charset="2"/>
              <a:buChar char="ü"/>
            </a:pPr>
            <a:endParaRPr lang="ru-RU" sz="2000" b="1" dirty="0" smtClean="0"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algn="just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ru-RU" sz="2000" b="1" i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Хорошими примерами  </a:t>
            </a:r>
            <a:r>
              <a:rPr lang="ru-RU" sz="2000" b="1" i="1" dirty="0">
                <a:solidFill>
                  <a:srgbClr val="00206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эффективного взаимодействия служит принятие Банком России в </a:t>
            </a:r>
            <a:r>
              <a:rPr lang="ru-RU" sz="2000" b="1" i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lang="ru-RU" sz="2000" b="1" i="1" dirty="0">
                <a:solidFill>
                  <a:srgbClr val="00206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2014 </a:t>
            </a:r>
            <a:r>
              <a:rPr lang="ru-RU" sz="2000" b="1" i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-2016 гг</a:t>
            </a:r>
            <a:r>
              <a:rPr lang="ru-RU" sz="2000" b="1" i="1" dirty="0">
                <a:solidFill>
                  <a:srgbClr val="00206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. после консультаций с профессиональным сообществом пакета антикризисных мер, направленных на снижение воздействия резкого изменения курса рубля и ухудшения финансового положения заемщиков на стабильность банковского сектора. </a:t>
            </a:r>
            <a:endParaRPr lang="ru-RU" sz="20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Рамка 3"/>
          <p:cNvSpPr/>
          <p:nvPr/>
        </p:nvSpPr>
        <p:spPr>
          <a:xfrm>
            <a:off x="827584" y="3501008"/>
            <a:ext cx="7992888" cy="2880320"/>
          </a:xfrm>
          <a:prstGeom prst="frame">
            <a:avLst>
              <a:gd name="adj1" fmla="val 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4432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3568" y="2204864"/>
            <a:ext cx="8008924" cy="3312368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ru-RU" sz="5400" b="1" dirty="0" smtClean="0">
                <a:effectLst/>
              </a:rPr>
              <a:t>Спасибо за внимание</a:t>
            </a:r>
            <a:endParaRPr lang="ru-RU" sz="5400" b="1" dirty="0">
              <a:effectLst/>
            </a:endParaRPr>
          </a:p>
        </p:txBody>
      </p:sp>
      <p:pic>
        <p:nvPicPr>
          <p:cNvPr id="4" name="Picture 9" descr="Asros_blu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72264" y="285728"/>
            <a:ext cx="1800225" cy="173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019455867"/>
              </p:ext>
            </p:extLst>
          </p:nvPr>
        </p:nvGraphicFramePr>
        <p:xfrm>
          <a:off x="539552" y="260648"/>
          <a:ext cx="3960440" cy="5976664"/>
        </p:xfrm>
        <a:graphic>
          <a:graphicData uri="http://schemas.openxmlformats.org/drawingml/2006/table">
            <a:tbl>
              <a:tblPr firstRow="1" firstCol="1" bandRow="1"/>
              <a:tblGrid>
                <a:gridCol w="3960440"/>
              </a:tblGrid>
              <a:tr h="597666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i="1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Макроэкономические условия </a:t>
                      </a:r>
                      <a:r>
                        <a:rPr lang="ru-RU" sz="20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банковской </a:t>
                      </a:r>
                      <a:r>
                        <a:rPr lang="ru-RU" sz="2000" b="1" i="1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деятельности </a:t>
                      </a:r>
                      <a:endParaRPr lang="ru-RU" sz="2000" b="1" i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b="1" i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в 2015-2016</a:t>
                      </a:r>
                      <a:r>
                        <a:rPr lang="ru-RU" sz="2000" b="1" i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 годах:</a:t>
                      </a:r>
                      <a:endParaRPr lang="ru-RU" sz="20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marL="0" lvl="0" indent="0" algn="just"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endParaRPr lang="ru-RU" sz="1800" b="1" dirty="0" smtClean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600" b="1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Отрицательные </a:t>
                      </a: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темпы роста ВВП и валового накопления;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endParaRPr lang="ru-RU" sz="1600" b="1" dirty="0" smtClean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600" b="1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Абсолютное </a:t>
                      </a: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нижение объемов конечного потребления;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endParaRPr lang="ru-RU" sz="1600" b="1" dirty="0" smtClean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600" b="1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Резкое</a:t>
                      </a:r>
                      <a:r>
                        <a:rPr lang="ru-RU" sz="1600" b="1" baseline="0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жатие </a:t>
                      </a: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инвестиционного и потребительского спроса;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endParaRPr lang="ru-RU" sz="1600" b="1" dirty="0" smtClean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600" b="1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Высокая </a:t>
                      </a: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инфляция и сильная волатильность обменного курса рубля;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endParaRPr lang="ru-RU" sz="1600" b="1" dirty="0" smtClean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600" b="1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охранение </a:t>
                      </a:r>
                      <a:r>
                        <a:rPr lang="ru-RU" sz="1600" b="1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режима санкций и контрсанкций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EDA"/>
                    </a:solidFill>
                  </a:tcPr>
                </a:tc>
              </a:tr>
            </a:tbl>
          </a:graphicData>
        </a:graphic>
      </p:graphicFrame>
      <p:sp>
        <p:nvSpPr>
          <p:cNvPr id="6" name="Объект 5"/>
          <p:cNvSpPr>
            <a:spLocks noGrp="1"/>
          </p:cNvSpPr>
          <p:nvPr>
            <p:ph sz="half" idx="2"/>
          </p:nvPr>
        </p:nvSpPr>
        <p:spPr>
          <a:xfrm>
            <a:off x="4644008" y="260648"/>
            <a:ext cx="4038600" cy="5865515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Ухудшение макроэкономических условий и введение режима финансовых санкций поставили перед российской банковской системой сложные задачи по выработке механизмов адаптации к кризисной ситуации. </a:t>
            </a:r>
          </a:p>
          <a:p>
            <a:pPr marL="0" indent="0" algn="just">
              <a:buNone/>
            </a:pPr>
            <a:r>
              <a:rPr lang="ru-RU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азличные группы банков при этом поставлены в неодинаковые условия.</a:t>
            </a:r>
          </a:p>
          <a:p>
            <a:pPr marL="0" indent="0" algn="just">
              <a:buNone/>
            </a:pPr>
            <a:endParaRPr lang="ru-RU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ианты прогноза динамики </a:t>
            </a:r>
          </a:p>
          <a:p>
            <a:pPr marL="0" indent="0" algn="ctr">
              <a:buNone/>
            </a:pPr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П Российской Федерации, %</a:t>
            </a:r>
          </a:p>
          <a:p>
            <a:pPr marL="0" indent="0" algn="just">
              <a:buNone/>
            </a:pPr>
            <a:endParaRPr lang="ru-RU" sz="160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43438" y="3797156"/>
            <a:ext cx="4071966" cy="2203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806406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5"/>
          <p:cNvSpPr>
            <a:spLocks noGrp="1"/>
          </p:cNvSpPr>
          <p:nvPr>
            <p:ph sz="half" idx="2"/>
          </p:nvPr>
        </p:nvSpPr>
        <p:spPr>
          <a:xfrm>
            <a:off x="5652120" y="1700808"/>
            <a:ext cx="3034680" cy="4608512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rmAutofit fontScale="77500" lnSpcReduction="20000"/>
          </a:bodyPr>
          <a:lstStyle/>
          <a:p>
            <a:pPr marL="0" indent="0" algn="just">
              <a:lnSpc>
                <a:spcPct val="125000"/>
              </a:lnSpc>
              <a:buNone/>
            </a:pPr>
            <a:r>
              <a:rPr lang="ru-RU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 сложных экономических условиях банковский сектор, даже с учетом валютной переоценки, обеспечивает увеличение совокупного кредитного портфеля.</a:t>
            </a:r>
          </a:p>
          <a:p>
            <a:pPr marL="0" indent="0" algn="just">
              <a:lnSpc>
                <a:spcPct val="125000"/>
              </a:lnSpc>
              <a:buNone/>
            </a:pPr>
            <a:r>
              <a:rPr lang="ru-RU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должается приток вкладов населения и средств юридических лиц. </a:t>
            </a:r>
          </a:p>
          <a:p>
            <a:pPr marL="0" indent="0" algn="just">
              <a:lnSpc>
                <a:spcPct val="125000"/>
              </a:lnSpc>
              <a:buNone/>
            </a:pPr>
            <a:r>
              <a:rPr lang="ru-RU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Банки поддерживают офисные сети и развивают технологии дистанционного обслуживания клиентов, благодаря чему расширяется доступность населения и бизнеса к получению финансовых услуг.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609" y="1214422"/>
            <a:ext cx="5179313" cy="50720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28596" y="260648"/>
            <a:ext cx="8215370" cy="66802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ru-RU" sz="19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ные показатели и </a:t>
            </a:r>
            <a:r>
              <a:rPr lang="ru-RU" sz="19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акропруденциальные</a:t>
            </a:r>
            <a:r>
              <a:rPr lang="ru-RU" sz="19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характеристики банковской деятельности в Российской Федерации</a:t>
            </a:r>
          </a:p>
        </p:txBody>
      </p:sp>
    </p:spTree>
    <p:extLst>
      <p:ext uri="{BB962C8B-B14F-4D97-AF65-F5344CB8AC3E}">
        <p14:creationId xmlns:p14="http://schemas.microsoft.com/office/powerpoint/2010/main" val="24591941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8596" y="260648"/>
            <a:ext cx="8229600" cy="418058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r>
              <a:rPr lang="ru-RU" sz="20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инамика банковского кредитования </a:t>
            </a:r>
            <a:endParaRPr lang="ru-RU" sz="20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14282" y="785794"/>
            <a:ext cx="4281518" cy="5500726"/>
          </a:xfr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pPr marL="0" indent="0" algn="ctr">
              <a:buNone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Динамика кредитования</a:t>
            </a:r>
            <a:b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нефинансовых организаций, млрд руб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 algn="ctr">
              <a:buNone/>
            </a:pP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3438" y="785794"/>
            <a:ext cx="4286280" cy="5500727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инамика кредитования физических лиц, млрд руб.</a:t>
            </a:r>
          </a:p>
          <a:p>
            <a:pPr marL="0" indent="0" algn="ctr">
              <a:buNone/>
            </a:pP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6135" y="1357298"/>
            <a:ext cx="4355865" cy="496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0" y="1285860"/>
            <a:ext cx="4357718" cy="5292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14909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792088"/>
          </a:xfrm>
          <a:solidFill>
            <a:schemeClr val="bg1">
              <a:lumMod val="95000"/>
            </a:schemeClr>
          </a:solidFill>
        </p:spPr>
        <p:txBody>
          <a:bodyPr>
            <a:normAutofit fontScale="90000"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2000" b="1" i="1" dirty="0" smtClean="0">
                <a:latin typeface="Times New Roman"/>
                <a:ea typeface="Times New Roman"/>
              </a:rPr>
              <a:t/>
            </a:r>
            <a:br>
              <a:rPr lang="ru-RU" sz="2000" b="1" i="1" dirty="0" smtClean="0">
                <a:latin typeface="Times New Roman"/>
                <a:ea typeface="Times New Roman"/>
              </a:rPr>
            </a:br>
            <a:r>
              <a:rPr lang="ru-RU" sz="2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Абсолютные </a:t>
            </a:r>
            <a:r>
              <a:rPr lang="ru-RU" sz="2200" b="1" i="1" dirty="0">
                <a:latin typeface="Arial" panose="020B0604020202020204" pitchFamily="34" charset="0"/>
                <a:cs typeface="Arial" panose="020B0604020202020204" pitchFamily="34" charset="0"/>
              </a:rPr>
              <a:t>и относительные объемы просроченной задолженности </a:t>
            </a:r>
            <a:r>
              <a:rPr lang="ru-RU" sz="2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200" b="1" i="1" dirty="0">
                <a:latin typeface="Arial" panose="020B0604020202020204" pitchFamily="34" charset="0"/>
                <a:cs typeface="Arial" panose="020B0604020202020204" pitchFamily="34" charset="0"/>
              </a:rPr>
              <a:t>российском банковском секторе</a:t>
            </a:r>
            <a:r>
              <a:rPr lang="ru-RU" sz="2000" b="1" i="1" dirty="0">
                <a:latin typeface="Times New Roman"/>
                <a:ea typeface="Times New Roman"/>
              </a:rPr>
              <a:t/>
            </a:r>
            <a:br>
              <a:rPr lang="ru-RU" sz="2000" b="1" i="1" dirty="0">
                <a:latin typeface="Times New Roman"/>
                <a:ea typeface="Times New Roman"/>
              </a:rPr>
            </a:br>
            <a:endParaRPr lang="ru-RU" sz="2000" b="1" i="1" dirty="0">
              <a:latin typeface="Times New Roman"/>
              <a:ea typeface="Times New Roman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2016" y="1214422"/>
            <a:ext cx="8436264" cy="4632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962062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Grp="1"/>
          </p:cNvGraphicFramePr>
          <p:nvPr>
            <p:ph sz="half" idx="1"/>
            <p:extLst/>
          </p:nvPr>
        </p:nvGraphicFramePr>
        <p:xfrm>
          <a:off x="467544" y="260648"/>
          <a:ext cx="3960440" cy="6120680"/>
        </p:xfrm>
        <a:graphic>
          <a:graphicData uri="http://schemas.openxmlformats.org/drawingml/2006/table">
            <a:tbl>
              <a:tblPr firstRow="1" firstCol="1" bandRow="1"/>
              <a:tblGrid>
                <a:gridCol w="3960440"/>
              </a:tblGrid>
              <a:tr h="612068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имптомы </a:t>
                      </a: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вялотекущего </a:t>
                      </a:r>
                      <a:r>
                        <a:rPr lang="ru-RU" sz="1400" b="1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истемного </a:t>
                      </a:r>
                      <a:r>
                        <a:rPr lang="ru-RU" sz="1400" b="1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кризиса в банковском секторе России: </a:t>
                      </a:r>
                      <a:endParaRPr lang="ru-RU" sz="1400" b="1" dirty="0" smtClean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4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/>
                          <a:ea typeface="Times New Roman"/>
                        </a:rPr>
                        <a:t>Массированная господдержка узкого круга банков;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4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/>
                          <a:ea typeface="Times New Roman"/>
                        </a:rPr>
                        <a:t>Создание института санирования банков в рамках АСВ;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4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/>
                          <a:ea typeface="Times New Roman"/>
                        </a:rPr>
                        <a:t>Предоставление акционерами безвозмездной помощи для поддержки банков;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4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/>
                          <a:ea typeface="Times New Roman"/>
                        </a:rPr>
                        <a:t>Массовый отзыв лицензий;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ru-RU" sz="14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/>
                          <a:ea typeface="Times New Roman"/>
                        </a:rPr>
                        <a:t>Расширение масштабов убыточной деятельности кредитных организаций</a:t>
                      </a:r>
                      <a:r>
                        <a:rPr lang="ru-RU" sz="14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Times New Roman"/>
                          <a:ea typeface="Times New Roman"/>
                        </a:rPr>
                        <a:t>.</a:t>
                      </a:r>
                    </a:p>
                    <a:p>
                      <a:pPr marL="0" lvl="0" indent="0" algn="just">
                        <a:spcAft>
                          <a:spcPts val="0"/>
                        </a:spcAft>
                        <a:buFont typeface="Symbol"/>
                        <a:buNone/>
                      </a:pPr>
                      <a:endParaRPr lang="ru-RU" sz="1100" dirty="0" smtClean="0">
                        <a:effectLst/>
                        <a:latin typeface="Times New Roman"/>
                        <a:ea typeface="Times New Roman"/>
                      </a:endParaRPr>
                    </a:p>
                    <a:p>
                      <a:pPr marL="0" lvl="0" indent="0" algn="just"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Суммарный объем прямой государственной поддержки банковского сектора в 2014-2015 гг. оценивается экспертами в размере 1,7 трлн руб.</a:t>
                      </a:r>
                    </a:p>
                    <a:p>
                      <a:pPr marL="0" lvl="0" indent="0" algn="just">
                        <a:spcAft>
                          <a:spcPts val="0"/>
                        </a:spcAft>
                        <a:buFont typeface="Symbol"/>
                        <a:buNone/>
                      </a:pPr>
                      <a:endParaRPr lang="ru-RU" sz="1400" b="1" dirty="0" smtClean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marL="0" lvl="0" indent="0" algn="just"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ru-RU" sz="1400" b="1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В отношении 30 банков</a:t>
                      </a:r>
                      <a:r>
                        <a:rPr lang="ru-RU" sz="1400" b="1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 АСВ </a:t>
                      </a:r>
                      <a:r>
                        <a:rPr lang="ru-RU" sz="1400" b="1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проводит процедуры финансового оздоровления,  суммарный объем финансовой помощи этим банкам превышает 1,2 трлн руб.</a:t>
                      </a:r>
                    </a:p>
                    <a:p>
                      <a:pPr marL="0" lvl="0" indent="0" algn="just">
                        <a:spcAft>
                          <a:spcPts val="0"/>
                        </a:spcAft>
                        <a:buFont typeface="Symbol"/>
                        <a:buNone/>
                      </a:pPr>
                      <a:endParaRPr lang="ru-RU" sz="1400" b="1" dirty="0" smtClean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marL="0" lvl="0" indent="0" algn="just">
                        <a:spcAft>
                          <a:spcPts val="0"/>
                        </a:spcAft>
                        <a:buFont typeface="Symbol"/>
                        <a:buNone/>
                      </a:pPr>
                      <a:r>
                        <a:rPr lang="ru-RU" sz="1600" b="1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Банки в 2015</a:t>
                      </a:r>
                      <a:r>
                        <a:rPr lang="ru-RU" sz="1600" b="1" baseline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г. привлекли в рамках финансового самооздоровления</a:t>
                      </a:r>
                      <a:r>
                        <a:rPr lang="ru-RU" sz="1600" b="1" baseline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рекордный объем помощи от акционеров – 156 млрд руб.</a:t>
                      </a:r>
                      <a:endParaRPr lang="ru-RU" sz="1600" b="1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BE5F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4928" y="332656"/>
            <a:ext cx="4038600" cy="5646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550" y="912128"/>
            <a:ext cx="4099922" cy="540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Кольцо 3"/>
          <p:cNvSpPr/>
          <p:nvPr/>
        </p:nvSpPr>
        <p:spPr>
          <a:xfrm>
            <a:off x="7596336" y="3356992"/>
            <a:ext cx="864096" cy="864096"/>
          </a:xfrm>
          <a:prstGeom prst="donut">
            <a:avLst>
              <a:gd name="adj" fmla="val 4886"/>
            </a:avLst>
          </a:prstGeom>
          <a:solidFill>
            <a:srgbClr val="FF0000"/>
          </a:solidFill>
          <a:ln cap="rnd">
            <a:solidFill>
              <a:srgbClr val="FF0000"/>
            </a:solidFill>
            <a:prstDash val="lgDash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988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11560" y="548680"/>
            <a:ext cx="8064896" cy="51706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indent="457200" algn="just">
              <a:lnSpc>
                <a:spcPct val="150000"/>
              </a:lnSpc>
            </a:pPr>
            <a:r>
              <a:rPr 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дером по абсолютному приросту капитализации в 2015 году стал Сбербанк России,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чная стоимость которого выросла на 9,3 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  долл.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 почти на 45% до 30 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       долл.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начало 2016 года. </a:t>
            </a:r>
            <a:endParaRPr lang="ru-RU" sz="20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57200" algn="just">
              <a:lnSpc>
                <a:spcPct val="150000"/>
              </a:lnSpc>
            </a:pPr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</a:t>
            </a:r>
            <a:r>
              <a:rPr 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волило Сбербанку еще крепче закрепить за собой звание самого дорогого банка России – по итогам 2015 года его отрыв от второго по стоимости банка </a:t>
            </a:r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ТБ вырос </a:t>
            </a:r>
            <a:r>
              <a:rPr 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двукратного (30 </a:t>
            </a:r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  долл. </a:t>
            </a:r>
            <a:r>
              <a:rPr lang="ru-RU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14,1 миллиарда долларов у ВТБ), при этом стоимость Сбербанка на конец 2015 года оказалась даже больше суммарной стоимости других 17 публичных кредитных организаций России.</a:t>
            </a:r>
          </a:p>
        </p:txBody>
      </p:sp>
    </p:spTree>
    <p:extLst>
      <p:ext uri="{BB962C8B-B14F-4D97-AF65-F5344CB8AC3E}">
        <p14:creationId xmlns:p14="http://schemas.microsoft.com/office/powerpoint/2010/main" val="2987396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2114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ru-RU" sz="2400" b="1" i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/>
            </a:r>
            <a:br>
              <a:rPr lang="ru-RU" sz="2400" b="1" i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r>
              <a:rPr lang="ru-RU" sz="2400" b="1" i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Динамика </a:t>
            </a:r>
            <a:r>
              <a:rPr lang="ru-RU" sz="24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и удельный вес прибыльных</a:t>
            </a:r>
            <a:br>
              <a:rPr lang="ru-RU" sz="24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r>
              <a:rPr lang="ru-RU" sz="24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и убыточных кредитных организаций</a:t>
            </a:r>
            <a:br>
              <a:rPr lang="ru-RU" sz="2400" b="1" i="1" dirty="0">
                <a:solidFill>
                  <a:prstClr val="black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</a:br>
            <a:endParaRPr lang="ru-RU" sz="24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412875"/>
          <a:ext cx="8229600" cy="489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Кольцо 5"/>
          <p:cNvSpPr/>
          <p:nvPr/>
        </p:nvSpPr>
        <p:spPr>
          <a:xfrm>
            <a:off x="6804248" y="1268760"/>
            <a:ext cx="1512168" cy="864096"/>
          </a:xfrm>
          <a:prstGeom prst="donut">
            <a:avLst>
              <a:gd name="adj" fmla="val 5280"/>
            </a:avLst>
          </a:prstGeom>
          <a:solidFill>
            <a:srgbClr val="FFC000"/>
          </a:solidFill>
          <a:ln>
            <a:prstDash val="lg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2215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  <a:solidFill>
            <a:srgbClr val="CCFFFF"/>
          </a:solidFill>
        </p:spPr>
        <p:txBody>
          <a:bodyPr>
            <a:normAutofit/>
          </a:bodyPr>
          <a:lstStyle/>
          <a:p>
            <a:r>
              <a:rPr lang="ru-RU" sz="2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инамика финансового результата банковского сектора России, млрд руб.</a:t>
            </a:r>
            <a:endParaRPr lang="ru-RU" sz="24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196975"/>
          <a:ext cx="8229600" cy="4929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04967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PPT UniCredit (ing)">
  <a:themeElements>
    <a:clrScheme name="Tema di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6E6E6"/>
      </a:accent1>
      <a:accent2>
        <a:srgbClr val="0000CC"/>
      </a:accent2>
      <a:accent3>
        <a:srgbClr val="FFFFFF"/>
      </a:accent3>
      <a:accent4>
        <a:srgbClr val="000000"/>
      </a:accent4>
      <a:accent5>
        <a:srgbClr val="F0F0F0"/>
      </a:accent5>
      <a:accent6>
        <a:srgbClr val="0000B9"/>
      </a:accent6>
      <a:hlink>
        <a:srgbClr val="51A836"/>
      </a:hlink>
      <a:folHlink>
        <a:srgbClr val="E2001A"/>
      </a:folHlink>
    </a:clrScheme>
    <a:fontScheme name="Tema di Office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sng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sng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>
            <a:latin typeface="UniCredit" pitchFamily="50" charset="0"/>
          </a:defRPr>
        </a:defPPr>
      </a:lstStyle>
    </a:txDef>
  </a:objectDefaults>
  <a:extraClrSchemeLst>
    <a:extraClrScheme>
      <a:clrScheme name="Tema di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200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5</TotalTime>
  <Words>978</Words>
  <Application>Microsoft Office PowerPoint</Application>
  <PresentationFormat>Экран (4:3)</PresentationFormat>
  <Paragraphs>138</Paragraphs>
  <Slides>19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3" baseType="lpstr">
      <vt:lpstr>ＭＳ Ｐゴシック</vt:lpstr>
      <vt:lpstr>Arial</vt:lpstr>
      <vt:lpstr>Arial Black</vt:lpstr>
      <vt:lpstr>Calibri</vt:lpstr>
      <vt:lpstr>Symbol</vt:lpstr>
      <vt:lpstr>Times New Roman</vt:lpstr>
      <vt:lpstr>UniCredit</vt:lpstr>
      <vt:lpstr>UniCredit CY</vt:lpstr>
      <vt:lpstr>UniCredit Medium</vt:lpstr>
      <vt:lpstr>Wingdings</vt:lpstr>
      <vt:lpstr>3_Office Theme</vt:lpstr>
      <vt:lpstr>Тема Office</vt:lpstr>
      <vt:lpstr>PPT UniCredit (ing)</vt:lpstr>
      <vt:lpstr>think-cell Slide</vt:lpstr>
      <vt:lpstr>«Банковская система России 2016:  практические вопросы надзора и регулирования»</vt:lpstr>
      <vt:lpstr>Презентация PowerPoint</vt:lpstr>
      <vt:lpstr>Основные показатели и макропруденциальные характеристики банковской деятельности в Российской Федерации</vt:lpstr>
      <vt:lpstr>Динамика банковского кредитования </vt:lpstr>
      <vt:lpstr> Абсолютные и относительные объемы просроченной задолженности в российском банковском секторе </vt:lpstr>
      <vt:lpstr>Презентация PowerPoint</vt:lpstr>
      <vt:lpstr>Презентация PowerPoint</vt:lpstr>
      <vt:lpstr> Динамика и удельный вес прибыльных и убыточных кредитных организаций </vt:lpstr>
      <vt:lpstr>Динамика финансового результата банковского сектора России, млрд руб.</vt:lpstr>
      <vt:lpstr>Количество отозванных банковских лицензий в Российской Федерации</vt:lpstr>
      <vt:lpstr>Презентация PowerPoint</vt:lpstr>
      <vt:lpstr> Банки с государственным участием в странах Центральной и Восточной Европы </vt:lpstr>
      <vt:lpstr>Презентация PowerPoint</vt:lpstr>
      <vt:lpstr> Матрица взаимосвязи целей и основных направлений развития финансового рынка Российской Федерации на период 2016–2018 годов </vt:lpstr>
      <vt:lpstr>Узловые вопросы текущего надзора и регулирования банковской деятельности </vt:lpstr>
      <vt:lpstr>  Применение в полном объеме профессионального суждения в надзорной практике  </vt:lpstr>
      <vt:lpstr>  Оптимизация  регуляторной нагрузки и реализация принципа  пропорционального регулирования    </vt:lpstr>
      <vt:lpstr>Развитие диалога регулятора с банковским сообществом</vt:lpstr>
      <vt:lpstr>Спасибо за внимание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одели развития финансового сектора в условиях глобализации: Россия и международная практика</dc:title>
  <dc:creator>Анна</dc:creator>
  <cp:lastModifiedBy>Lenov5</cp:lastModifiedBy>
  <cp:revision>53</cp:revision>
  <dcterms:created xsi:type="dcterms:W3CDTF">2014-08-11T11:44:41Z</dcterms:created>
  <dcterms:modified xsi:type="dcterms:W3CDTF">2016-03-25T12:04:02Z</dcterms:modified>
</cp:coreProperties>
</file>